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314" r:id="rId5"/>
    <p:sldId id="333" r:id="rId6"/>
    <p:sldId id="339" r:id="rId7"/>
    <p:sldId id="340" r:id="rId8"/>
    <p:sldId id="323" r:id="rId9"/>
    <p:sldId id="321" r:id="rId10"/>
    <p:sldId id="341" r:id="rId11"/>
    <p:sldId id="342" r:id="rId12"/>
    <p:sldId id="289" r:id="rId13"/>
  </p:sldIdLst>
  <p:sldSz cx="12192000" cy="6858000"/>
  <p:notesSz cx="6858000" cy="91440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FA5A8899-B84F-5E46-94A4-8192503260A7}">
          <p14:sldIdLst>
            <p14:sldId id="314"/>
            <p14:sldId id="333"/>
            <p14:sldId id="339"/>
            <p14:sldId id="340"/>
            <p14:sldId id="323"/>
            <p14:sldId id="321"/>
            <p14:sldId id="341"/>
            <p14:sldId id="342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008C"/>
    <a:srgbClr val="F599C3"/>
    <a:srgbClr val="F9C3DB"/>
    <a:srgbClr val="F27CB1"/>
    <a:srgbClr val="F06AA7"/>
    <a:srgbClr val="FDE9F2"/>
    <a:srgbClr val="FACEE2"/>
    <a:srgbClr val="FFE8A7"/>
    <a:srgbClr val="FFD55D"/>
    <a:srgbClr val="FFD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0C2D75-0774-4E44-87B1-937A955C7469}" v="3445" dt="2022-03-21T20:29:42.2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Normaali tyyli 4 - Korostu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94"/>
    <p:restoredTop sz="94687"/>
  </p:normalViewPr>
  <p:slideViewPr>
    <p:cSldViewPr snapToGrid="0" snapToObjects="1">
      <p:cViewPr varScale="1">
        <p:scale>
          <a:sx n="84" d="100"/>
          <a:sy n="84" d="100"/>
        </p:scale>
        <p:origin x="89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Laasjärvi" userId="147922e0-9e4e-413c-924b-93f8f61c2127" providerId="ADAL" clId="{BA0C2D75-0774-4E44-87B1-937A955C7469}"/>
    <pc:docChg chg="undo custSel addSld delSld modSld sldOrd modSection">
      <pc:chgData name="Helena Laasjärvi" userId="147922e0-9e4e-413c-924b-93f8f61c2127" providerId="ADAL" clId="{BA0C2D75-0774-4E44-87B1-937A955C7469}" dt="2022-03-21T20:29:40.286" v="816" actId="47"/>
      <pc:docMkLst>
        <pc:docMk/>
      </pc:docMkLst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48784172" sldId="257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396529617" sldId="262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567366138" sldId="276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1436191983" sldId="277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638171817" sldId="279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1522835767" sldId="280"/>
        </pc:sldMkLst>
      </pc:sldChg>
      <pc:sldChg chg="del">
        <pc:chgData name="Helena Laasjärvi" userId="147922e0-9e4e-413c-924b-93f8f61c2127" providerId="ADAL" clId="{BA0C2D75-0774-4E44-87B1-937A955C7469}" dt="2022-03-21T20:29:40.286" v="816" actId="47"/>
        <pc:sldMkLst>
          <pc:docMk/>
          <pc:sldMk cId="2750018942" sldId="281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832256426" sldId="283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3030195058" sldId="284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1681479401" sldId="287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715913612" sldId="288"/>
        </pc:sldMkLst>
      </pc:sldChg>
      <pc:sldChg chg="modSp mod ord">
        <pc:chgData name="Helena Laasjärvi" userId="147922e0-9e4e-413c-924b-93f8f61c2127" providerId="ADAL" clId="{BA0C2D75-0774-4E44-87B1-937A955C7469}" dt="2022-03-21T20:27:11.439" v="721"/>
        <pc:sldMkLst>
          <pc:docMk/>
          <pc:sldMk cId="752674889" sldId="289"/>
        </pc:sldMkLst>
        <pc:spChg chg="mod">
          <ac:chgData name="Helena Laasjärvi" userId="147922e0-9e4e-413c-924b-93f8f61c2127" providerId="ADAL" clId="{BA0C2D75-0774-4E44-87B1-937A955C7469}" dt="2022-03-21T20:27:11.431" v="719" actId="948"/>
          <ac:spMkLst>
            <pc:docMk/>
            <pc:sldMk cId="752674889" sldId="289"/>
            <ac:spMk id="2" creationId="{3C758F86-BBBF-48AA-8EC6-ADA1457FD750}"/>
          </ac:spMkLst>
        </pc:spChg>
        <pc:graphicFrameChg chg="mod">
          <ac:chgData name="Helena Laasjärvi" userId="147922e0-9e4e-413c-924b-93f8f61c2127" providerId="ADAL" clId="{BA0C2D75-0774-4E44-87B1-937A955C7469}" dt="2022-03-21T20:27:11.439" v="721"/>
          <ac:graphicFrameMkLst>
            <pc:docMk/>
            <pc:sldMk cId="752674889" sldId="289"/>
            <ac:graphicFrameMk id="10" creationId="{C0C92CC4-9821-445B-8FC1-C7630CDC1D48}"/>
          </ac:graphicFrameMkLst>
        </pc:graphicFrameChg>
        <pc:picChg chg="mod">
          <ac:chgData name="Helena Laasjärvi" userId="147922e0-9e4e-413c-924b-93f8f61c2127" providerId="ADAL" clId="{BA0C2D75-0774-4E44-87B1-937A955C7469}" dt="2022-03-21T20:22:19.750" v="681" actId="14100"/>
          <ac:picMkLst>
            <pc:docMk/>
            <pc:sldMk cId="752674889" sldId="289"/>
            <ac:picMk id="26" creationId="{328AC4BB-AECD-47FE-B305-B95D452F1AE0}"/>
          </ac:picMkLst>
        </pc:picChg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2930245678" sldId="290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374272036" sldId="291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503456678" sldId="292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362643404" sldId="293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306014607" sldId="294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2948409664" sldId="295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3358695604" sldId="296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1902614847" sldId="298"/>
        </pc:sldMkLst>
      </pc:sldChg>
      <pc:sldChg chg="del">
        <pc:chgData name="Helena Laasjärvi" userId="147922e0-9e4e-413c-924b-93f8f61c2127" providerId="ADAL" clId="{BA0C2D75-0774-4E44-87B1-937A955C7469}" dt="2022-03-21T20:29:34.755" v="815" actId="47"/>
        <pc:sldMkLst>
          <pc:docMk/>
          <pc:sldMk cId="2781864839" sldId="299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918289778" sldId="300"/>
        </pc:sldMkLst>
      </pc:sldChg>
      <pc:sldChg chg="del">
        <pc:chgData name="Helena Laasjärvi" userId="147922e0-9e4e-413c-924b-93f8f61c2127" providerId="ADAL" clId="{BA0C2D75-0774-4E44-87B1-937A955C7469}" dt="2022-03-21T20:29:25.627" v="814" actId="47"/>
        <pc:sldMkLst>
          <pc:docMk/>
          <pc:sldMk cId="3517716753" sldId="301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1589890886" sldId="302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4103225806" sldId="303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2567248277" sldId="304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4070654495" sldId="30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549404346" sldId="306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4123276159" sldId="307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1579759834" sldId="309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181953243" sldId="311"/>
        </pc:sldMkLst>
      </pc:sldChg>
      <pc:sldChg chg="del">
        <pc:chgData name="Helena Laasjärvi" userId="147922e0-9e4e-413c-924b-93f8f61c2127" providerId="ADAL" clId="{BA0C2D75-0774-4E44-87B1-937A955C7469}" dt="2022-03-21T20:29:18.024" v="813" actId="47"/>
        <pc:sldMkLst>
          <pc:docMk/>
          <pc:sldMk cId="2657336914" sldId="312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588515560" sldId="313"/>
        </pc:sldMkLst>
      </pc:sldChg>
      <pc:sldChg chg="addSp delSp modSp mod">
        <pc:chgData name="Helena Laasjärvi" userId="147922e0-9e4e-413c-924b-93f8f61c2127" providerId="ADAL" clId="{BA0C2D75-0774-4E44-87B1-937A955C7469}" dt="2022-03-21T20:27:55.337" v="809"/>
        <pc:sldMkLst>
          <pc:docMk/>
          <pc:sldMk cId="181922694" sldId="314"/>
        </pc:sldMkLst>
        <pc:spChg chg="mod">
          <ac:chgData name="Helena Laasjärvi" userId="147922e0-9e4e-413c-924b-93f8f61c2127" providerId="ADAL" clId="{BA0C2D75-0774-4E44-87B1-937A955C7469}" dt="2022-03-21T20:27:55.275" v="768" actId="948"/>
          <ac:spMkLst>
            <pc:docMk/>
            <pc:sldMk cId="181922694" sldId="314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19:51:36.914" v="41"/>
          <ac:spMkLst>
            <pc:docMk/>
            <pc:sldMk cId="181922694" sldId="314"/>
            <ac:spMk id="33" creationId="{81B3CD29-FA1B-4F2D-A246-F8B988B2B12A}"/>
          </ac:spMkLst>
        </pc:spChg>
        <pc:spChg chg="add del mod modVis">
          <ac:chgData name="Helena Laasjärvi" userId="147922e0-9e4e-413c-924b-93f8f61c2127" providerId="ADAL" clId="{BA0C2D75-0774-4E44-87B1-937A955C7469}" dt="2022-03-21T19:51:43.463" v="88"/>
          <ac:spMkLst>
            <pc:docMk/>
            <pc:sldMk cId="181922694" sldId="314"/>
            <ac:spMk id="34" creationId="{E7141AE4-86D7-4861-8100-E729F6102688}"/>
          </ac:spMkLst>
        </pc:spChg>
        <pc:spChg chg="add del mod modVis">
          <ac:chgData name="Helena Laasjärvi" userId="147922e0-9e4e-413c-924b-93f8f61c2127" providerId="ADAL" clId="{BA0C2D75-0774-4E44-87B1-937A955C7469}" dt="2022-03-21T19:51:44.623" v="132"/>
          <ac:spMkLst>
            <pc:docMk/>
            <pc:sldMk cId="181922694" sldId="314"/>
            <ac:spMk id="35" creationId="{E5DFF0E0-5AE5-4C4E-932D-9E1AADE44F9F}"/>
          </ac:spMkLst>
        </pc:spChg>
        <pc:spChg chg="add del mod modVis">
          <ac:chgData name="Helena Laasjärvi" userId="147922e0-9e4e-413c-924b-93f8f61c2127" providerId="ADAL" clId="{BA0C2D75-0774-4E44-87B1-937A955C7469}" dt="2022-03-21T19:51:49.749" v="198"/>
          <ac:spMkLst>
            <pc:docMk/>
            <pc:sldMk cId="181922694" sldId="314"/>
            <ac:spMk id="36" creationId="{CCF86482-B9FE-4949-B082-053FB1CE8EC3}"/>
          </ac:spMkLst>
        </pc:spChg>
        <pc:spChg chg="add del mod modVis">
          <ac:chgData name="Helena Laasjärvi" userId="147922e0-9e4e-413c-924b-93f8f61c2127" providerId="ADAL" clId="{BA0C2D75-0774-4E44-87B1-937A955C7469}" dt="2022-03-21T20:27:55.337" v="807"/>
          <ac:spMkLst>
            <pc:docMk/>
            <pc:sldMk cId="181922694" sldId="314"/>
            <ac:spMk id="37" creationId="{55039679-EBAD-4216-853C-D5FD3AAE55CE}"/>
          </ac:spMkLst>
        </pc:spChg>
        <pc:graphicFrameChg chg="mod">
          <ac:chgData name="Helena Laasjärvi" userId="147922e0-9e4e-413c-924b-93f8f61c2127" providerId="ADAL" clId="{BA0C2D75-0774-4E44-87B1-937A955C7469}" dt="2022-03-21T20:27:55.337" v="809"/>
          <ac:graphicFrameMkLst>
            <pc:docMk/>
            <pc:sldMk cId="181922694" sldId="314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19:53:30.426" v="208" actId="207"/>
          <ac:graphicFrameMkLst>
            <pc:docMk/>
            <pc:sldMk cId="181922694" sldId="314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724025729" sldId="31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3149145955" sldId="316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863750448" sldId="317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1594535289" sldId="319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2851854799" sldId="320"/>
        </pc:sldMkLst>
      </pc:sldChg>
      <pc:sldChg chg="addSp delSp modSp mod ord">
        <pc:chgData name="Helena Laasjärvi" userId="147922e0-9e4e-413c-924b-93f8f61c2127" providerId="ADAL" clId="{BA0C2D75-0774-4E44-87B1-937A955C7469}" dt="2022-03-21T20:27:23.250" v="764"/>
        <pc:sldMkLst>
          <pc:docMk/>
          <pc:sldMk cId="31896352" sldId="321"/>
        </pc:sldMkLst>
        <pc:spChg chg="mod">
          <ac:chgData name="Helena Laasjärvi" userId="147922e0-9e4e-413c-924b-93f8f61c2127" providerId="ADAL" clId="{BA0C2D75-0774-4E44-87B1-937A955C7469}" dt="2022-03-21T20:27:23.165" v="723" actId="948"/>
          <ac:spMkLst>
            <pc:docMk/>
            <pc:sldMk cId="31896352" sldId="321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11:36.647" v="546"/>
          <ac:spMkLst>
            <pc:docMk/>
            <pc:sldMk cId="31896352" sldId="321"/>
            <ac:spMk id="4" creationId="{0E08EE51-FBA8-41B5-8D89-22D26B0F2493}"/>
          </ac:spMkLst>
        </pc:spChg>
        <pc:spChg chg="add del mod modVis">
          <ac:chgData name="Helena Laasjärvi" userId="147922e0-9e4e-413c-924b-93f8f61c2127" providerId="ADAL" clId="{BA0C2D75-0774-4E44-87B1-937A955C7469}" dt="2022-03-21T20:27:23.250" v="762"/>
          <ac:spMkLst>
            <pc:docMk/>
            <pc:sldMk cId="31896352" sldId="321"/>
            <ac:spMk id="6" creationId="{6497A08B-C7D5-4679-85EC-0770267A3306}"/>
          </ac:spMkLst>
        </pc:spChg>
        <pc:spChg chg="add mod">
          <ac:chgData name="Helena Laasjärvi" userId="147922e0-9e4e-413c-924b-93f8f61c2127" providerId="ADAL" clId="{BA0C2D75-0774-4E44-87B1-937A955C7469}" dt="2022-03-21T20:12:23.364" v="554"/>
          <ac:spMkLst>
            <pc:docMk/>
            <pc:sldMk cId="31896352" sldId="321"/>
            <ac:spMk id="19" creationId="{3B5A2344-B829-41B0-9138-10FB1EE5FD99}"/>
          </ac:spMkLst>
        </pc:spChg>
        <pc:spChg chg="add mod">
          <ac:chgData name="Helena Laasjärvi" userId="147922e0-9e4e-413c-924b-93f8f61c2127" providerId="ADAL" clId="{BA0C2D75-0774-4E44-87B1-937A955C7469}" dt="2022-03-21T20:13:08.009" v="563" actId="14100"/>
          <ac:spMkLst>
            <pc:docMk/>
            <pc:sldMk cId="31896352" sldId="321"/>
            <ac:spMk id="20" creationId="{33F42C49-B5C3-48EE-9E77-398558F8C768}"/>
          </ac:spMkLst>
        </pc:spChg>
        <pc:spChg chg="mod">
          <ac:chgData name="Helena Laasjärvi" userId="147922e0-9e4e-413c-924b-93f8f61c2127" providerId="ADAL" clId="{BA0C2D75-0774-4E44-87B1-937A955C7469}" dt="2022-03-21T20:13:18.645" v="564"/>
          <ac:spMkLst>
            <pc:docMk/>
            <pc:sldMk cId="31896352" sldId="321"/>
            <ac:spMk id="22" creationId="{C9B1B633-AD48-4D3C-8CCD-7436A9F439E9}"/>
          </ac:spMkLst>
        </pc:spChg>
        <pc:spChg chg="mod">
          <ac:chgData name="Helena Laasjärvi" userId="147922e0-9e4e-413c-924b-93f8f61c2127" providerId="ADAL" clId="{BA0C2D75-0774-4E44-87B1-937A955C7469}" dt="2022-03-21T20:13:51.466" v="571" actId="20577"/>
          <ac:spMkLst>
            <pc:docMk/>
            <pc:sldMk cId="31896352" sldId="321"/>
            <ac:spMk id="23" creationId="{36608C9F-4863-45E8-9A76-00693A0368E5}"/>
          </ac:spMkLst>
        </pc:spChg>
        <pc:spChg chg="mod">
          <ac:chgData name="Helena Laasjärvi" userId="147922e0-9e4e-413c-924b-93f8f61c2127" providerId="ADAL" clId="{BA0C2D75-0774-4E44-87B1-937A955C7469}" dt="2022-03-21T20:14:45.797" v="579"/>
          <ac:spMkLst>
            <pc:docMk/>
            <pc:sldMk cId="31896352" sldId="321"/>
            <ac:spMk id="25" creationId="{B3E34E57-BD83-4070-B109-16995B8ADE4E}"/>
          </ac:spMkLst>
        </pc:spChg>
        <pc:spChg chg="mod">
          <ac:chgData name="Helena Laasjärvi" userId="147922e0-9e4e-413c-924b-93f8f61c2127" providerId="ADAL" clId="{BA0C2D75-0774-4E44-87B1-937A955C7469}" dt="2022-03-21T20:15:11.356" v="581"/>
          <ac:spMkLst>
            <pc:docMk/>
            <pc:sldMk cId="31896352" sldId="321"/>
            <ac:spMk id="26" creationId="{AAD562A7-54BD-41EE-975B-333F91CB9DB4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0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1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2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3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3.089" v="549" actId="478"/>
          <ac:spMkLst>
            <pc:docMk/>
            <pc:sldMk cId="31896352" sldId="321"/>
            <ac:spMk id="34" creationId="{00000000-0000-0000-0000-000000000000}"/>
          </ac:spMkLst>
        </pc:spChg>
        <pc:spChg chg="mod">
          <ac:chgData name="Helena Laasjärvi" userId="147922e0-9e4e-413c-924b-93f8f61c2127" providerId="ADAL" clId="{BA0C2D75-0774-4E44-87B1-937A955C7469}" dt="2022-03-21T20:15:24.543" v="583"/>
          <ac:spMkLst>
            <pc:docMk/>
            <pc:sldMk cId="31896352" sldId="321"/>
            <ac:spMk id="35" creationId="{1FC7D0D8-B8A2-48E9-9518-EA58EA150ABD}"/>
          </ac:spMkLst>
        </pc:spChg>
        <pc:spChg chg="mod">
          <ac:chgData name="Helena Laasjärvi" userId="147922e0-9e4e-413c-924b-93f8f61c2127" providerId="ADAL" clId="{BA0C2D75-0774-4E44-87B1-937A955C7469}" dt="2022-03-21T20:15:40.538" v="585"/>
          <ac:spMkLst>
            <pc:docMk/>
            <pc:sldMk cId="31896352" sldId="321"/>
            <ac:spMk id="37" creationId="{F18A58B7-7C21-47F4-BECE-7F9613A98C99}"/>
          </ac:spMkLst>
        </pc:spChg>
        <pc:spChg chg="del">
          <ac:chgData name="Helena Laasjärvi" userId="147922e0-9e4e-413c-924b-93f8f61c2127" providerId="ADAL" clId="{BA0C2D75-0774-4E44-87B1-937A955C7469}" dt="2022-03-21T20:11:46.545" v="551" actId="478"/>
          <ac:spMkLst>
            <pc:docMk/>
            <pc:sldMk cId="31896352" sldId="321"/>
            <ac:spMk id="48" creationId="{00000000-0000-0000-0000-000000000000}"/>
          </ac:spMkLst>
        </pc:spChg>
        <pc:spChg chg="del">
          <ac:chgData name="Helena Laasjärvi" userId="147922e0-9e4e-413c-924b-93f8f61c2127" providerId="ADAL" clId="{BA0C2D75-0774-4E44-87B1-937A955C7469}" dt="2022-03-21T20:11:44.879" v="550" actId="478"/>
          <ac:spMkLst>
            <pc:docMk/>
            <pc:sldMk cId="31896352" sldId="321"/>
            <ac:spMk id="49" creationId="{00000000-0000-0000-0000-000000000000}"/>
          </ac:spMkLst>
        </pc:spChg>
        <pc:grpChg chg="add mod">
          <ac:chgData name="Helena Laasjärvi" userId="147922e0-9e4e-413c-924b-93f8f61c2127" providerId="ADAL" clId="{BA0C2D75-0774-4E44-87B1-937A955C7469}" dt="2022-03-21T20:16:40.290" v="597" actId="1076"/>
          <ac:grpSpMkLst>
            <pc:docMk/>
            <pc:sldMk cId="31896352" sldId="321"/>
            <ac:grpSpMk id="18" creationId="{95BCAAE5-5C53-48E6-9FF6-4399AAABD4D1}"/>
          </ac:grpSpMkLst>
        </pc:grpChg>
        <pc:grpChg chg="add mod">
          <ac:chgData name="Helena Laasjärvi" userId="147922e0-9e4e-413c-924b-93f8f61c2127" providerId="ADAL" clId="{BA0C2D75-0774-4E44-87B1-937A955C7469}" dt="2022-03-21T20:17:03.484" v="600" actId="14100"/>
          <ac:grpSpMkLst>
            <pc:docMk/>
            <pc:sldMk cId="31896352" sldId="321"/>
            <ac:grpSpMk id="21" creationId="{A537BD05-EE9A-4640-BA4B-0BBF1A5E9A0C}"/>
          </ac:grpSpMkLst>
        </pc:grpChg>
        <pc:grpChg chg="add mod">
          <ac:chgData name="Helena Laasjärvi" userId="147922e0-9e4e-413c-924b-93f8f61c2127" providerId="ADAL" clId="{BA0C2D75-0774-4E44-87B1-937A955C7469}" dt="2022-03-21T20:17:07.332" v="601" actId="14100"/>
          <ac:grpSpMkLst>
            <pc:docMk/>
            <pc:sldMk cId="31896352" sldId="321"/>
            <ac:grpSpMk id="24" creationId="{7D86F2AA-F73B-44E6-AC9B-80FA049005C0}"/>
          </ac:grpSpMkLst>
        </pc:grpChg>
        <pc:grpChg chg="add mod">
          <ac:chgData name="Helena Laasjärvi" userId="147922e0-9e4e-413c-924b-93f8f61c2127" providerId="ADAL" clId="{BA0C2D75-0774-4E44-87B1-937A955C7469}" dt="2022-03-21T20:17:09.797" v="602" actId="14100"/>
          <ac:grpSpMkLst>
            <pc:docMk/>
            <pc:sldMk cId="31896352" sldId="321"/>
            <ac:grpSpMk id="27" creationId="{ECB1719E-F54E-4D20-A1F6-311B8011AFAD}"/>
          </ac:grpSpMkLst>
        </pc:grpChg>
        <pc:graphicFrameChg chg="mod">
          <ac:chgData name="Helena Laasjärvi" userId="147922e0-9e4e-413c-924b-93f8f61c2127" providerId="ADAL" clId="{BA0C2D75-0774-4E44-87B1-937A955C7469}" dt="2022-03-21T20:27:23.250" v="764"/>
          <ac:graphicFrameMkLst>
            <pc:docMk/>
            <pc:sldMk cId="31896352" sldId="321"/>
            <ac:graphicFrameMk id="3" creationId="{E23B38B6-C474-4478-B461-DDE3DD760AB1}"/>
          </ac:graphicFrameMkLst>
        </pc:graphicFrameChg>
        <pc:picChg chg="add mod">
          <ac:chgData name="Helena Laasjärvi" userId="147922e0-9e4e-413c-924b-93f8f61c2127" providerId="ADAL" clId="{BA0C2D75-0774-4E44-87B1-937A955C7469}" dt="2022-03-21T20:12:02.591" v="553" actId="1076"/>
          <ac:picMkLst>
            <pc:docMk/>
            <pc:sldMk cId="31896352" sldId="321"/>
            <ac:picMk id="5" creationId="{8FCC6E92-11BF-44FA-A81B-6B5F5BCC5EDD}"/>
          </ac:picMkLst>
        </pc:picChg>
        <pc:picChg chg="del">
          <ac:chgData name="Helena Laasjärvi" userId="147922e0-9e4e-413c-924b-93f8f61c2127" providerId="ADAL" clId="{BA0C2D75-0774-4E44-87B1-937A955C7469}" dt="2022-03-21T20:11:43.089" v="549" actId="478"/>
          <ac:picMkLst>
            <pc:docMk/>
            <pc:sldMk cId="31896352" sldId="321"/>
            <ac:picMk id="28" creationId="{00000000-0000-0000-0000-000000000000}"/>
          </ac:picMkLst>
        </pc:picChg>
        <pc:picChg chg="del">
          <ac:chgData name="Helena Laasjärvi" userId="147922e0-9e4e-413c-924b-93f8f61c2127" providerId="ADAL" clId="{BA0C2D75-0774-4E44-87B1-937A955C7469}" dt="2022-03-21T20:11:43.089" v="549" actId="478"/>
          <ac:picMkLst>
            <pc:docMk/>
            <pc:sldMk cId="31896352" sldId="321"/>
            <ac:picMk id="29" creationId="{00000000-0000-0000-0000-000000000000}"/>
          </ac:picMkLst>
        </pc:pic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6" creationId="{00000000-0000-0000-0000-000000000000}"/>
          </ac:cxnSpMkLst>
        </pc:cxn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8" creationId="{00000000-0000-0000-0000-000000000000}"/>
          </ac:cxnSpMkLst>
        </pc:cxnChg>
        <pc:cxnChg chg="del">
          <ac:chgData name="Helena Laasjärvi" userId="147922e0-9e4e-413c-924b-93f8f61c2127" providerId="ADAL" clId="{BA0C2D75-0774-4E44-87B1-937A955C7469}" dt="2022-03-21T20:11:43.089" v="549" actId="478"/>
          <ac:cxnSpMkLst>
            <pc:docMk/>
            <pc:sldMk cId="31896352" sldId="321"/>
            <ac:cxnSpMk id="39" creationId="{00000000-0000-0000-0000-000000000000}"/>
          </ac:cxnSpMkLst>
        </pc:cxnChg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34063811" sldId="322"/>
        </pc:sldMkLst>
      </pc:sldChg>
      <pc:sldChg chg="addSp delSp modSp mod ord">
        <pc:chgData name="Helena Laasjärvi" userId="147922e0-9e4e-413c-924b-93f8f61c2127" providerId="ADAL" clId="{BA0C2D75-0774-4E44-87B1-937A955C7469}" dt="2022-03-21T20:10:52.440" v="501" actId="207"/>
        <pc:sldMkLst>
          <pc:docMk/>
          <pc:sldMk cId="2302383710" sldId="323"/>
        </pc:sldMkLst>
        <pc:spChg chg="mod">
          <ac:chgData name="Helena Laasjärvi" userId="147922e0-9e4e-413c-924b-93f8f61c2127" providerId="ADAL" clId="{BA0C2D75-0774-4E44-87B1-937A955C7469}" dt="2022-03-21T20:10:08.735" v="455" actId="948"/>
          <ac:spMkLst>
            <pc:docMk/>
            <pc:sldMk cId="2302383710" sldId="323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09:55.338" v="365"/>
          <ac:spMkLst>
            <pc:docMk/>
            <pc:sldMk cId="2302383710" sldId="323"/>
            <ac:spMk id="13" creationId="{478F402E-9EB8-4A4B-B5E9-4B458F269FC4}"/>
          </ac:spMkLst>
        </pc:spChg>
        <pc:spChg chg="add del mod modVis">
          <ac:chgData name="Helena Laasjärvi" userId="147922e0-9e4e-413c-924b-93f8f61c2127" providerId="ADAL" clId="{BA0C2D75-0774-4E44-87B1-937A955C7469}" dt="2022-03-21T20:10:02.003" v="408"/>
          <ac:spMkLst>
            <pc:docMk/>
            <pc:sldMk cId="2302383710" sldId="323"/>
            <ac:spMk id="14" creationId="{47F1468C-207F-4E6D-8AD0-BD3F37AB6515}"/>
          </ac:spMkLst>
        </pc:spChg>
        <pc:spChg chg="add del mod modVis">
          <ac:chgData name="Helena Laasjärvi" userId="147922e0-9e4e-413c-924b-93f8f61c2127" providerId="ADAL" clId="{BA0C2D75-0774-4E44-87B1-937A955C7469}" dt="2022-03-21T20:10:06.794" v="451"/>
          <ac:spMkLst>
            <pc:docMk/>
            <pc:sldMk cId="2302383710" sldId="323"/>
            <ac:spMk id="15" creationId="{5B7635BA-3BFF-4BBC-9E06-540E7502EF76}"/>
          </ac:spMkLst>
        </pc:spChg>
        <pc:spChg chg="add del mod modVis">
          <ac:chgData name="Helena Laasjärvi" userId="147922e0-9e4e-413c-924b-93f8f61c2127" providerId="ADAL" clId="{BA0C2D75-0774-4E44-87B1-937A955C7469}" dt="2022-03-21T20:10:08.804" v="494"/>
          <ac:spMkLst>
            <pc:docMk/>
            <pc:sldMk cId="2302383710" sldId="323"/>
            <ac:spMk id="16" creationId="{7B74244E-9D9D-4164-9125-9145D12E3207}"/>
          </ac:spMkLst>
        </pc:spChg>
        <pc:graphicFrameChg chg="mod">
          <ac:chgData name="Helena Laasjärvi" userId="147922e0-9e4e-413c-924b-93f8f61c2127" providerId="ADAL" clId="{BA0C2D75-0774-4E44-87B1-937A955C7469}" dt="2022-03-21T20:10:08.804" v="496"/>
          <ac:graphicFrameMkLst>
            <pc:docMk/>
            <pc:sldMk cId="2302383710" sldId="323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20:10:52.440" v="501" actId="207"/>
          <ac:graphicFrameMkLst>
            <pc:docMk/>
            <pc:sldMk cId="2302383710" sldId="323"/>
            <ac:graphicFrameMk id="8" creationId="{311B8604-8FEE-42BB-AF19-CDBE2DDB3F11}"/>
          </ac:graphicFrameMkLst>
        </pc:graphicFrameChg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742727706" sldId="324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2673673509" sldId="325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450801208" sldId="326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1955026970" sldId="327"/>
        </pc:sldMkLst>
      </pc:sldChg>
      <pc:sldChg chg="del">
        <pc:chgData name="Helena Laasjärvi" userId="147922e0-9e4e-413c-924b-93f8f61c2127" providerId="ADAL" clId="{BA0C2D75-0774-4E44-87B1-937A955C7469}" dt="2022-03-21T20:29:11.871" v="812" actId="47"/>
        <pc:sldMkLst>
          <pc:docMk/>
          <pc:sldMk cId="647569095" sldId="328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2303161499" sldId="329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4044381824" sldId="330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3929637336" sldId="331"/>
        </pc:sldMkLst>
      </pc:sldChg>
      <pc:sldChg chg="modSp del ord">
        <pc:chgData name="Helena Laasjärvi" userId="147922e0-9e4e-413c-924b-93f8f61c2127" providerId="ADAL" clId="{BA0C2D75-0774-4E44-87B1-937A955C7469}" dt="2022-03-21T20:28:50.586" v="810" actId="47"/>
        <pc:sldMkLst>
          <pc:docMk/>
          <pc:sldMk cId="2656244910" sldId="332"/>
        </pc:sldMkLst>
        <pc:graphicFrameChg chg="mod">
          <ac:chgData name="Helena Laasjärvi" userId="147922e0-9e4e-413c-924b-93f8f61c2127" providerId="ADAL" clId="{BA0C2D75-0774-4E44-87B1-937A955C7469}" dt="2022-03-21T20:05:00.134" v="284"/>
          <ac:graphicFrameMkLst>
            <pc:docMk/>
            <pc:sldMk cId="2656244910" sldId="332"/>
            <ac:graphicFrameMk id="9" creationId="{70F72556-3325-4E00-88F9-12228D5B81AC}"/>
          </ac:graphicFrameMkLst>
        </pc:graphicFrameChg>
      </pc:sldChg>
      <pc:sldChg chg="modSp mod ord">
        <pc:chgData name="Helena Laasjärvi" userId="147922e0-9e4e-413c-924b-93f8f61c2127" providerId="ADAL" clId="{BA0C2D75-0774-4E44-87B1-937A955C7469}" dt="2022-03-21T19:56:19.211" v="234" actId="14100"/>
        <pc:sldMkLst>
          <pc:docMk/>
          <pc:sldMk cId="3837540713" sldId="333"/>
        </pc:sldMkLst>
        <pc:spChg chg="mod">
          <ac:chgData name="Helena Laasjärvi" userId="147922e0-9e4e-413c-924b-93f8f61c2127" providerId="ADAL" clId="{BA0C2D75-0774-4E44-87B1-937A955C7469}" dt="2022-03-21T19:54:27.336" v="221"/>
          <ac:spMkLst>
            <pc:docMk/>
            <pc:sldMk cId="3837540713" sldId="333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19:56:19.211" v="234" actId="14100"/>
          <ac:graphicFrameMkLst>
            <pc:docMk/>
            <pc:sldMk cId="3837540713" sldId="333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BA0C2D75-0774-4E44-87B1-937A955C7469}" dt="2022-03-21T19:55:57.506" v="232" actId="14826"/>
          <ac:picMkLst>
            <pc:docMk/>
            <pc:sldMk cId="3837540713" sldId="333"/>
            <ac:picMk id="6" creationId="{9D1B725A-9F7F-4A5F-A8A5-52289C013BBA}"/>
          </ac:picMkLst>
        </pc:picChg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4093303929" sldId="334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3060497981" sldId="335"/>
        </pc:sldMkLst>
      </pc:sldChg>
      <pc:sldChg chg="del ord">
        <pc:chgData name="Helena Laasjärvi" userId="147922e0-9e4e-413c-924b-93f8f61c2127" providerId="ADAL" clId="{BA0C2D75-0774-4E44-87B1-937A955C7469}" dt="2022-03-21T20:28:50.586" v="810" actId="47"/>
        <pc:sldMkLst>
          <pc:docMk/>
          <pc:sldMk cId="1273959850" sldId="336"/>
        </pc:sldMkLst>
      </pc:sldChg>
      <pc:sldChg chg="del">
        <pc:chgData name="Helena Laasjärvi" userId="147922e0-9e4e-413c-924b-93f8f61c2127" providerId="ADAL" clId="{BA0C2D75-0774-4E44-87B1-937A955C7469}" dt="2022-03-21T20:28:50.586" v="810" actId="47"/>
        <pc:sldMkLst>
          <pc:docMk/>
          <pc:sldMk cId="1435096970" sldId="337"/>
        </pc:sldMkLst>
      </pc:sldChg>
      <pc:sldChg chg="del">
        <pc:chgData name="Helena Laasjärvi" userId="147922e0-9e4e-413c-924b-93f8f61c2127" providerId="ADAL" clId="{BA0C2D75-0774-4E44-87B1-937A955C7469}" dt="2022-03-21T20:29:02.064" v="811" actId="47"/>
        <pc:sldMkLst>
          <pc:docMk/>
          <pc:sldMk cId="3401915877" sldId="338"/>
        </pc:sldMkLst>
      </pc:sldChg>
      <pc:sldChg chg="addSp modSp add mod">
        <pc:chgData name="Helena Laasjärvi" userId="147922e0-9e4e-413c-924b-93f8f61c2127" providerId="ADAL" clId="{BA0C2D75-0774-4E44-87B1-937A955C7469}" dt="2022-03-21T20:00:47.591" v="259" actId="14100"/>
        <pc:sldMkLst>
          <pc:docMk/>
          <pc:sldMk cId="2551821641" sldId="339"/>
        </pc:sldMkLst>
        <pc:spChg chg="mod">
          <ac:chgData name="Helena Laasjärvi" userId="147922e0-9e4e-413c-924b-93f8f61c2127" providerId="ADAL" clId="{BA0C2D75-0774-4E44-87B1-937A955C7469}" dt="2022-03-21T19:56:57.355" v="237"/>
          <ac:spMkLst>
            <pc:docMk/>
            <pc:sldMk cId="2551821641" sldId="339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00:24.417" v="255" actId="1076"/>
          <ac:graphicFrameMkLst>
            <pc:docMk/>
            <pc:sldMk cId="2551821641" sldId="339"/>
            <ac:graphicFrameMk id="8" creationId="{B936F7B1-E20A-3AF0-9D08-1FF576802789}"/>
          </ac:graphicFrameMkLst>
        </pc:graphicFrameChg>
        <pc:picChg chg="add mod">
          <ac:chgData name="Helena Laasjärvi" userId="147922e0-9e4e-413c-924b-93f8f61c2127" providerId="ADAL" clId="{BA0C2D75-0774-4E44-87B1-937A955C7469}" dt="2022-03-21T20:00:47.591" v="259" actId="14100"/>
          <ac:picMkLst>
            <pc:docMk/>
            <pc:sldMk cId="2551821641" sldId="339"/>
            <ac:picMk id="5" creationId="{EBD2302C-8A72-4F06-B641-0EE02D6068C2}"/>
          </ac:picMkLst>
        </pc:picChg>
        <pc:picChg chg="mod">
          <ac:chgData name="Helena Laasjärvi" userId="147922e0-9e4e-413c-924b-93f8f61c2127" providerId="ADAL" clId="{BA0C2D75-0774-4E44-87B1-937A955C7469}" dt="2022-03-21T20:00:30.540" v="256" actId="1076"/>
          <ac:picMkLst>
            <pc:docMk/>
            <pc:sldMk cId="2551821641" sldId="339"/>
            <ac:picMk id="6" creationId="{9D1B725A-9F7F-4A5F-A8A5-52289C013BBA}"/>
          </ac:picMkLst>
        </pc:picChg>
      </pc:sldChg>
      <pc:sldChg chg="addSp delSp modSp add mod">
        <pc:chgData name="Helena Laasjärvi" userId="147922e0-9e4e-413c-924b-93f8f61c2127" providerId="ADAL" clId="{BA0C2D75-0774-4E44-87B1-937A955C7469}" dt="2022-03-21T20:27:34.607" v="766" actId="1076"/>
        <pc:sldMkLst>
          <pc:docMk/>
          <pc:sldMk cId="2877642831" sldId="340"/>
        </pc:sldMkLst>
        <pc:spChg chg="mod">
          <ac:chgData name="Helena Laasjärvi" userId="147922e0-9e4e-413c-924b-93f8f61c2127" providerId="ADAL" clId="{BA0C2D75-0774-4E44-87B1-937A955C7469}" dt="2022-03-21T20:27:34.607" v="766" actId="1076"/>
          <ac:spMkLst>
            <pc:docMk/>
            <pc:sldMk cId="2877642831" sldId="340"/>
            <ac:spMk id="10" creationId="{0AA9639B-B7E2-44C5-9CA4-50187E024E5F}"/>
          </ac:spMkLst>
        </pc:spChg>
        <pc:spChg chg="add">
          <ac:chgData name="Helena Laasjärvi" userId="147922e0-9e4e-413c-924b-93f8f61c2127" providerId="ADAL" clId="{BA0C2D75-0774-4E44-87B1-937A955C7469}" dt="2022-03-21T20:04:07.265" v="281" actId="26606"/>
          <ac:spMkLst>
            <pc:docMk/>
            <pc:sldMk cId="2877642831" sldId="340"/>
            <ac:spMk id="15" creationId="{131BAD53-4E89-4F62-BBB7-26359763ED39}"/>
          </ac:spMkLst>
        </pc:spChg>
        <pc:spChg chg="add">
          <ac:chgData name="Helena Laasjärvi" userId="147922e0-9e4e-413c-924b-93f8f61c2127" providerId="ADAL" clId="{BA0C2D75-0774-4E44-87B1-937A955C7469}" dt="2022-03-21T20:04:07.265" v="281" actId="26606"/>
          <ac:spMkLst>
            <pc:docMk/>
            <pc:sldMk cId="2877642831" sldId="340"/>
            <ac:spMk id="17" creationId="{62756DA2-40EB-4C6F-B962-5822FFB54FB6}"/>
          </ac:spMkLst>
        </pc:spChg>
        <pc:graphicFrameChg chg="mod modGraphic">
          <ac:chgData name="Helena Laasjärvi" userId="147922e0-9e4e-413c-924b-93f8f61c2127" providerId="ADAL" clId="{BA0C2D75-0774-4E44-87B1-937A955C7469}" dt="2022-03-21T20:07:09.150" v="300" actId="207"/>
          <ac:graphicFrameMkLst>
            <pc:docMk/>
            <pc:sldMk cId="2877642831" sldId="340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BA0C2D75-0774-4E44-87B1-937A955C7469}" dt="2022-03-21T20:02:29.645" v="272" actId="478"/>
          <ac:picMkLst>
            <pc:docMk/>
            <pc:sldMk cId="2877642831" sldId="340"/>
            <ac:picMk id="5" creationId="{EBD2302C-8A72-4F06-B641-0EE02D6068C2}"/>
          </ac:picMkLst>
        </pc:picChg>
        <pc:picChg chg="del">
          <ac:chgData name="Helena Laasjärvi" userId="147922e0-9e4e-413c-924b-93f8f61c2127" providerId="ADAL" clId="{BA0C2D75-0774-4E44-87B1-937A955C7469}" dt="2022-03-21T20:02:28.640" v="271" actId="478"/>
          <ac:picMkLst>
            <pc:docMk/>
            <pc:sldMk cId="2877642831" sldId="340"/>
            <ac:picMk id="6" creationId="{9D1B725A-9F7F-4A5F-A8A5-52289C013BBA}"/>
          </ac:picMkLst>
        </pc:picChg>
        <pc:picChg chg="add mod ord">
          <ac:chgData name="Helena Laasjärvi" userId="147922e0-9e4e-413c-924b-93f8f61c2127" providerId="ADAL" clId="{BA0C2D75-0774-4E44-87B1-937A955C7469}" dt="2022-03-21T20:04:07.265" v="281" actId="26606"/>
          <ac:picMkLst>
            <pc:docMk/>
            <pc:sldMk cId="2877642831" sldId="340"/>
            <ac:picMk id="7" creationId="{88682EDC-89D4-4A9C-A2A6-BDAD52E6FF21}"/>
          </ac:picMkLst>
        </pc:picChg>
      </pc:sldChg>
      <pc:sldChg chg="modSp add mod ord">
        <pc:chgData name="Helena Laasjärvi" userId="147922e0-9e4e-413c-924b-93f8f61c2127" providerId="ADAL" clId="{BA0C2D75-0774-4E44-87B1-937A955C7469}" dt="2022-03-21T20:19:29.292" v="616" actId="1076"/>
        <pc:sldMkLst>
          <pc:docMk/>
          <pc:sldMk cId="1745881650" sldId="341"/>
        </pc:sldMkLst>
        <pc:spChg chg="mod">
          <ac:chgData name="Helena Laasjärvi" userId="147922e0-9e4e-413c-924b-93f8f61c2127" providerId="ADAL" clId="{BA0C2D75-0774-4E44-87B1-937A955C7469}" dt="2022-03-21T20:17:47.400" v="607"/>
          <ac:spMkLst>
            <pc:docMk/>
            <pc:sldMk cId="1745881650" sldId="34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19:29.292" v="616" actId="1076"/>
          <ac:graphicFrameMkLst>
            <pc:docMk/>
            <pc:sldMk cId="1745881650" sldId="341"/>
            <ac:graphicFrameMk id="8" creationId="{B936F7B1-E20A-3AF0-9D08-1FF576802789}"/>
          </ac:graphicFrameMkLst>
        </pc:graphicFrameChg>
        <pc:picChg chg="mod">
          <ac:chgData name="Helena Laasjärvi" userId="147922e0-9e4e-413c-924b-93f8f61c2127" providerId="ADAL" clId="{BA0C2D75-0774-4E44-87B1-937A955C7469}" dt="2022-03-21T20:18:39.013" v="611" actId="14826"/>
          <ac:picMkLst>
            <pc:docMk/>
            <pc:sldMk cId="1745881650" sldId="341"/>
            <ac:picMk id="7" creationId="{88682EDC-89D4-4A9C-A2A6-BDAD52E6FF21}"/>
          </ac:picMkLst>
        </pc:picChg>
      </pc:sldChg>
      <pc:sldChg chg="delSp modSp add del mod ord">
        <pc:chgData name="Helena Laasjärvi" userId="147922e0-9e4e-413c-924b-93f8f61c2127" providerId="ADAL" clId="{BA0C2D75-0774-4E44-87B1-937A955C7469}" dt="2022-03-21T20:10:14.812" v="497" actId="2696"/>
        <pc:sldMkLst>
          <pc:docMk/>
          <pc:sldMk cId="2294671426" sldId="341"/>
        </pc:sldMkLst>
        <pc:spChg chg="mod">
          <ac:chgData name="Helena Laasjärvi" userId="147922e0-9e4e-413c-924b-93f8f61c2127" providerId="ADAL" clId="{BA0C2D75-0774-4E44-87B1-937A955C7469}" dt="2022-03-21T20:07:49.600" v="305"/>
          <ac:spMkLst>
            <pc:docMk/>
            <pc:sldMk cId="2294671426" sldId="341"/>
            <ac:spMk id="10" creationId="{0AA9639B-B7E2-44C5-9CA4-50187E024E5F}"/>
          </ac:spMkLst>
        </pc:spChg>
        <pc:graphicFrameChg chg="mod">
          <ac:chgData name="Helena Laasjärvi" userId="147922e0-9e4e-413c-924b-93f8f61c2127" providerId="ADAL" clId="{BA0C2D75-0774-4E44-87B1-937A955C7469}" dt="2022-03-21T20:09:11.535" v="315"/>
          <ac:graphicFrameMkLst>
            <pc:docMk/>
            <pc:sldMk cId="2294671426" sldId="341"/>
            <ac:graphicFrameMk id="8" creationId="{B936F7B1-E20A-3AF0-9D08-1FF576802789}"/>
          </ac:graphicFrameMkLst>
        </pc:graphicFrameChg>
        <pc:picChg chg="del">
          <ac:chgData name="Helena Laasjärvi" userId="147922e0-9e4e-413c-924b-93f8f61c2127" providerId="ADAL" clId="{BA0C2D75-0774-4E44-87B1-937A955C7469}" dt="2022-03-21T20:09:17.657" v="317" actId="478"/>
          <ac:picMkLst>
            <pc:docMk/>
            <pc:sldMk cId="2294671426" sldId="341"/>
            <ac:picMk id="5" creationId="{EBD2302C-8A72-4F06-B641-0EE02D6068C2}"/>
          </ac:picMkLst>
        </pc:picChg>
        <pc:picChg chg="del">
          <ac:chgData name="Helena Laasjärvi" userId="147922e0-9e4e-413c-924b-93f8f61c2127" providerId="ADAL" clId="{BA0C2D75-0774-4E44-87B1-937A955C7469}" dt="2022-03-21T20:09:16.833" v="316" actId="478"/>
          <ac:picMkLst>
            <pc:docMk/>
            <pc:sldMk cId="2294671426" sldId="341"/>
            <ac:picMk id="6" creationId="{9D1B725A-9F7F-4A5F-A8A5-52289C013BBA}"/>
          </ac:picMkLst>
        </pc:picChg>
      </pc:sldChg>
      <pc:sldChg chg="addSp delSp modSp add mod ord">
        <pc:chgData name="Helena Laasjärvi" userId="147922e0-9e4e-413c-924b-93f8f61c2127" providerId="ADAL" clId="{BA0C2D75-0774-4E44-87B1-937A955C7469}" dt="2022-03-21T20:26:49.986" v="717" actId="255"/>
        <pc:sldMkLst>
          <pc:docMk/>
          <pc:sldMk cId="1340546130" sldId="342"/>
        </pc:sldMkLst>
        <pc:spChg chg="mod">
          <ac:chgData name="Helena Laasjärvi" userId="147922e0-9e4e-413c-924b-93f8f61c2127" providerId="ADAL" clId="{BA0C2D75-0774-4E44-87B1-937A955C7469}" dt="2022-03-21T20:20:02.341" v="622" actId="948"/>
          <ac:spMkLst>
            <pc:docMk/>
            <pc:sldMk cId="1340546130" sldId="342"/>
            <ac:spMk id="2" creationId="{00000000-0000-0000-0000-000000000000}"/>
          </ac:spMkLst>
        </pc:spChg>
        <pc:spChg chg="add del mod modVis">
          <ac:chgData name="Helena Laasjärvi" userId="147922e0-9e4e-413c-924b-93f8f61c2127" providerId="ADAL" clId="{BA0C2D75-0774-4E44-87B1-937A955C7469}" dt="2022-03-21T20:20:02.425" v="661"/>
          <ac:spMkLst>
            <pc:docMk/>
            <pc:sldMk cId="1340546130" sldId="342"/>
            <ac:spMk id="3" creationId="{20BB501A-E597-401A-B2BE-B4CB90CEFB69}"/>
          </ac:spMkLst>
        </pc:spChg>
        <pc:spChg chg="add mod">
          <ac:chgData name="Helena Laasjärvi" userId="147922e0-9e4e-413c-924b-93f8f61c2127" providerId="ADAL" clId="{BA0C2D75-0774-4E44-87B1-937A955C7469}" dt="2022-03-21T20:25:28.279" v="707" actId="1076"/>
          <ac:spMkLst>
            <pc:docMk/>
            <pc:sldMk cId="1340546130" sldId="342"/>
            <ac:spMk id="10" creationId="{A7077038-8B93-427F-8376-FF7C067A49C5}"/>
          </ac:spMkLst>
        </pc:spChg>
        <pc:grpChg chg="mod">
          <ac:chgData name="Helena Laasjärvi" userId="147922e0-9e4e-413c-924b-93f8f61c2127" providerId="ADAL" clId="{BA0C2D75-0774-4E44-87B1-937A955C7469}" dt="2022-03-21T20:19:52.802" v="618"/>
          <ac:grpSpMkLst>
            <pc:docMk/>
            <pc:sldMk cId="1340546130" sldId="342"/>
            <ac:grpSpMk id="1" creationId="{00000000-0000-0000-0000-000000000000}"/>
          </ac:grpSpMkLst>
        </pc:grpChg>
        <pc:graphicFrameChg chg="mod">
          <ac:chgData name="Helena Laasjärvi" userId="147922e0-9e4e-413c-924b-93f8f61c2127" providerId="ADAL" clId="{BA0C2D75-0774-4E44-87B1-937A955C7469}" dt="2022-03-21T20:20:02.431" v="663"/>
          <ac:graphicFrameMkLst>
            <pc:docMk/>
            <pc:sldMk cId="1340546130" sldId="342"/>
            <ac:graphicFrameMk id="6" creationId="{E1BF22A5-5A57-4AF6-B247-2D8B493D9B63}"/>
          </ac:graphicFrameMkLst>
        </pc:graphicFrameChg>
        <pc:graphicFrameChg chg="mod">
          <ac:chgData name="Helena Laasjärvi" userId="147922e0-9e4e-413c-924b-93f8f61c2127" providerId="ADAL" clId="{BA0C2D75-0774-4E44-87B1-937A955C7469}" dt="2022-03-21T20:26:49.986" v="717" actId="255"/>
          <ac:graphicFrameMkLst>
            <pc:docMk/>
            <pc:sldMk cId="1340546130" sldId="342"/>
            <ac:graphicFrameMk id="8" creationId="{311B8604-8FEE-42BB-AF19-CDBE2DDB3F11}"/>
          </ac:graphicFrameMkLst>
        </pc:graphicFrameChg>
        <pc:picChg chg="mod">
          <ac:chgData name="Helena Laasjärvi" userId="147922e0-9e4e-413c-924b-93f8f61c2127" providerId="ADAL" clId="{BA0C2D75-0774-4E44-87B1-937A955C7469}" dt="2022-03-21T20:19:52.802" v="618"/>
          <ac:picMkLst>
            <pc:docMk/>
            <pc:sldMk cId="1340546130" sldId="342"/>
            <ac:picMk id="4" creationId="{CF47ABF3-D808-437C-99C9-B7CE14174BFD}"/>
          </ac:picMkLst>
        </pc:picChg>
        <pc:picChg chg="add mod">
          <ac:chgData name="Helena Laasjärvi" userId="147922e0-9e4e-413c-924b-93f8f61c2127" providerId="ADAL" clId="{BA0C2D75-0774-4E44-87B1-937A955C7469}" dt="2022-03-21T20:23:57.911" v="691" actId="1076"/>
          <ac:picMkLst>
            <pc:docMk/>
            <pc:sldMk cId="1340546130" sldId="342"/>
            <ac:picMk id="7" creationId="{87AFEE6D-3997-40CF-B472-736E88DE41E0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 custT="1"/>
      <dgm:spPr>
        <a:solidFill>
          <a:srgbClr val="EC008C"/>
        </a:solidFill>
      </dgm:spPr>
      <dgm:t>
        <a:bodyPr/>
        <a:lstStyle/>
        <a:p>
          <a:r>
            <a:rPr lang="fi-FI" sz="2800" dirty="0"/>
            <a:t>Jakautuvat solut ovat yksi elämän tunnuspiirteistä</a:t>
          </a:r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0C4617CA-DEA3-4392-B77D-A2F5BBF1C0B5}">
      <dgm:prSet custT="1"/>
      <dgm:spPr/>
      <dgm:t>
        <a:bodyPr/>
        <a:lstStyle/>
        <a:p>
          <a:r>
            <a:rPr lang="fi-FI" sz="2400" dirty="0"/>
            <a:t>yksilö kasvaa</a:t>
          </a:r>
        </a:p>
      </dgm:t>
    </dgm:pt>
    <dgm:pt modelId="{3F2C835F-E691-4AFE-A29B-08878F9B9236}" type="parTrans" cxnId="{BB609F36-2BDA-4E6A-8DD3-B266F03FE8BB}">
      <dgm:prSet/>
      <dgm:spPr/>
      <dgm:t>
        <a:bodyPr/>
        <a:lstStyle/>
        <a:p>
          <a:endParaRPr lang="fi-FI"/>
        </a:p>
      </dgm:t>
    </dgm:pt>
    <dgm:pt modelId="{5E64F2C6-22D0-4E71-8D27-7CC6E948043A}" type="sibTrans" cxnId="{BB609F36-2BDA-4E6A-8DD3-B266F03FE8BB}">
      <dgm:prSet/>
      <dgm:spPr/>
      <dgm:t>
        <a:bodyPr/>
        <a:lstStyle/>
        <a:p>
          <a:endParaRPr lang="fi-FI"/>
        </a:p>
      </dgm:t>
    </dgm:pt>
    <dgm:pt modelId="{103FF6F0-A21E-4549-884C-5161F1A08444}">
      <dgm:prSet custT="1"/>
      <dgm:spPr/>
      <dgm:t>
        <a:bodyPr/>
        <a:lstStyle/>
        <a:p>
          <a:r>
            <a:rPr lang="fi-FI" sz="2400" dirty="0"/>
            <a:t>vanhat solut korvautuvat uusilla</a:t>
          </a:r>
          <a:endParaRPr lang="fi-FI" sz="2400" dirty="0">
            <a:cs typeface="Calibri"/>
          </a:endParaRPr>
        </a:p>
      </dgm:t>
    </dgm:pt>
    <dgm:pt modelId="{BDDD47DC-E488-495E-96FA-8BE545336627}" type="parTrans" cxnId="{BE9EFF61-FAC9-40B2-8CBC-C2D5D8EAA953}">
      <dgm:prSet/>
      <dgm:spPr/>
      <dgm:t>
        <a:bodyPr/>
        <a:lstStyle/>
        <a:p>
          <a:endParaRPr lang="fi-FI"/>
        </a:p>
      </dgm:t>
    </dgm:pt>
    <dgm:pt modelId="{FF5CC0DF-7B2E-4EFB-9BB8-C24BBB7A72E1}" type="sibTrans" cxnId="{BE9EFF61-FAC9-40B2-8CBC-C2D5D8EAA953}">
      <dgm:prSet/>
      <dgm:spPr/>
      <dgm:t>
        <a:bodyPr/>
        <a:lstStyle/>
        <a:p>
          <a:endParaRPr lang="fi-FI"/>
        </a:p>
      </dgm:t>
    </dgm:pt>
    <dgm:pt modelId="{1AE7A87C-4E7F-438B-8DA6-C1F592F3F1CA}">
      <dgm:prSet custT="1"/>
      <dgm:spPr/>
      <dgm:t>
        <a:bodyPr/>
        <a:lstStyle/>
        <a:p>
          <a:r>
            <a:rPr lang="fi-FI" sz="2400" dirty="0"/>
            <a:t>syntyy emosolun kaltainen tytärsolu</a:t>
          </a:r>
        </a:p>
      </dgm:t>
    </dgm:pt>
    <dgm:pt modelId="{9CD365DB-5684-44EB-ABF0-7832FDB912EA}" type="parTrans" cxnId="{1BB8ECDB-3532-4D6D-9634-E840DE1F077C}">
      <dgm:prSet/>
      <dgm:spPr/>
      <dgm:t>
        <a:bodyPr/>
        <a:lstStyle/>
        <a:p>
          <a:endParaRPr lang="fi-FI"/>
        </a:p>
      </dgm:t>
    </dgm:pt>
    <dgm:pt modelId="{24640208-9C4B-4EC5-8CC9-375A1AFFAF55}" type="sibTrans" cxnId="{1BB8ECDB-3532-4D6D-9634-E840DE1F077C}">
      <dgm:prSet/>
      <dgm:spPr/>
      <dgm:t>
        <a:bodyPr/>
        <a:lstStyle/>
        <a:p>
          <a:endParaRPr lang="fi-FI"/>
        </a:p>
      </dgm:t>
    </dgm:pt>
    <dgm:pt modelId="{29914E1D-C159-4B9A-BAC9-DD8953E2BA69}">
      <dgm:prSet custT="1"/>
      <dgm:spPr>
        <a:solidFill>
          <a:srgbClr val="F27CB1"/>
        </a:solidFill>
      </dgm:spPr>
      <dgm:t>
        <a:bodyPr/>
        <a:lstStyle/>
        <a:p>
          <a:r>
            <a:rPr lang="fi-FI" sz="2800" dirty="0"/>
            <a:t>Solujen jakautuessa</a:t>
          </a:r>
        </a:p>
      </dgm:t>
    </dgm:pt>
    <dgm:pt modelId="{E440B468-F534-45EE-ACB1-8D368CC8DD8A}" type="parTrans" cxnId="{295E1F02-8433-466C-B3EA-69CC5E891355}">
      <dgm:prSet/>
      <dgm:spPr/>
      <dgm:t>
        <a:bodyPr/>
        <a:lstStyle/>
        <a:p>
          <a:endParaRPr lang="fi-FI"/>
        </a:p>
      </dgm:t>
    </dgm:pt>
    <dgm:pt modelId="{7F7E417E-0148-4C16-B2CC-7DD60AB944E6}" type="sibTrans" cxnId="{295E1F02-8433-466C-B3EA-69CC5E891355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033DC3D-C63F-43D1-8859-07FC97577F71}" type="pres">
      <dgm:prSet presAssocID="{FDB40630-942D-4475-833B-DC48C1B2AEF9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4D5486F3-260E-4982-840C-D7BE98C81631}" type="pres">
      <dgm:prSet presAssocID="{0E1C6016-7DEB-4E2F-9797-C18C672777F4}" presName="spacer" presStyleCnt="0"/>
      <dgm:spPr/>
    </dgm:pt>
    <dgm:pt modelId="{DCC5FB86-1936-400D-B1D5-1AACF01901D7}" type="pres">
      <dgm:prSet presAssocID="{29914E1D-C159-4B9A-BAC9-DD8953E2BA6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85A5D33E-643F-4A77-B677-36661B6DEB83}" type="pres">
      <dgm:prSet presAssocID="{29914E1D-C159-4B9A-BAC9-DD8953E2BA69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295E1F02-8433-466C-B3EA-69CC5E891355}" srcId="{2DD9BEDF-B9E2-4ABA-A056-FFA32216D3C8}" destId="{29914E1D-C159-4B9A-BAC9-DD8953E2BA69}" srcOrd="1" destOrd="0" parTransId="{E440B468-F534-45EE-ACB1-8D368CC8DD8A}" sibTransId="{7F7E417E-0148-4C16-B2CC-7DD60AB944E6}"/>
    <dgm:cxn modelId="{1BB8ECDB-3532-4D6D-9634-E840DE1F077C}" srcId="{29914E1D-C159-4B9A-BAC9-DD8953E2BA69}" destId="{1AE7A87C-4E7F-438B-8DA6-C1F592F3F1CA}" srcOrd="2" destOrd="0" parTransId="{9CD365DB-5684-44EB-ABF0-7832FDB912EA}" sibTransId="{24640208-9C4B-4EC5-8CC9-375A1AFFAF55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BB609F36-2BDA-4E6A-8DD3-B266F03FE8BB}" srcId="{29914E1D-C159-4B9A-BAC9-DD8953E2BA69}" destId="{0C4617CA-DEA3-4392-B77D-A2F5BBF1C0B5}" srcOrd="0" destOrd="0" parTransId="{3F2C835F-E691-4AFE-A29B-08878F9B9236}" sibTransId="{5E64F2C6-22D0-4E71-8D27-7CC6E948043A}"/>
    <dgm:cxn modelId="{CBC65EFF-4350-4B81-9C35-AC6C642FD5AA}" type="presOf" srcId="{0C4617CA-DEA3-4392-B77D-A2F5BBF1C0B5}" destId="{85A5D33E-643F-4A77-B677-36661B6DEB83}" srcOrd="0" destOrd="0" presId="urn:microsoft.com/office/officeart/2005/8/layout/vList2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19F98530-4147-443C-9699-33442DC8F9C9}" type="presOf" srcId="{103FF6F0-A21E-4549-884C-5161F1A08444}" destId="{85A5D33E-643F-4A77-B677-36661B6DEB83}" srcOrd="0" destOrd="1" presId="urn:microsoft.com/office/officeart/2005/8/layout/vList2"/>
    <dgm:cxn modelId="{BE9EFF61-FAC9-40B2-8CBC-C2D5D8EAA953}" srcId="{29914E1D-C159-4B9A-BAC9-DD8953E2BA69}" destId="{103FF6F0-A21E-4549-884C-5161F1A08444}" srcOrd="1" destOrd="0" parTransId="{BDDD47DC-E488-495E-96FA-8BE545336627}" sibTransId="{FF5CC0DF-7B2E-4EFB-9BB8-C24BBB7A72E1}"/>
    <dgm:cxn modelId="{25CDE6D1-D842-4277-931E-49BCCDC10B4C}" type="presOf" srcId="{29914E1D-C159-4B9A-BAC9-DD8953E2BA69}" destId="{DCC5FB86-1936-400D-B1D5-1AACF01901D7}" srcOrd="0" destOrd="0" presId="urn:microsoft.com/office/officeart/2005/8/layout/vList2"/>
    <dgm:cxn modelId="{28674FB1-F7BA-47A0-9055-414DCF869073}" type="presOf" srcId="{1AE7A87C-4E7F-438B-8DA6-C1F592F3F1CA}" destId="{85A5D33E-643F-4A77-B677-36661B6DEB83}" srcOrd="0" destOrd="2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5F7A5906-3604-4227-8236-59027070F132}" type="presParOf" srcId="{2A2F781F-16C1-4D29-B08D-ACB557B90863}" destId="{4D5486F3-260E-4982-840C-D7BE98C81631}" srcOrd="1" destOrd="0" presId="urn:microsoft.com/office/officeart/2005/8/layout/vList2"/>
    <dgm:cxn modelId="{AE1FF39F-434A-4864-84F4-5965425B8D39}" type="presParOf" srcId="{2A2F781F-16C1-4D29-B08D-ACB557B90863}" destId="{DCC5FB86-1936-400D-B1D5-1AACF01901D7}" srcOrd="2" destOrd="0" presId="urn:microsoft.com/office/officeart/2005/8/layout/vList2"/>
    <dgm:cxn modelId="{914D294B-6FB9-4F7A-84E7-EE21332E2E8B}" type="presParOf" srcId="{2A2F781F-16C1-4D29-B08D-ACB557B90863}" destId="{85A5D33E-643F-4A77-B677-36661B6DEB83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Eri soluilla eri elämänkierron vaiheet ovat eri pituisi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 dirty="0"/>
            <a:t>Välivaihe on solun toiminnan aktiivisinta aikaa</a:t>
          </a:r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/>
            <a:t>Jakautumisvaiheessa tapahtuu</a:t>
          </a:r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F0F9AED4-B451-4630-9BC8-C1356E362BB6}">
      <dgm:prSet/>
      <dgm:spPr/>
      <dgm:t>
        <a:bodyPr/>
        <a:lstStyle/>
        <a:p>
          <a:r>
            <a:rPr lang="fi-FI"/>
            <a:t>solu kasvaa</a:t>
          </a:r>
          <a:endParaRPr lang="fi-FI" dirty="0"/>
        </a:p>
      </dgm:t>
    </dgm:pt>
    <dgm:pt modelId="{53F46392-E91D-4496-BDD0-C63B83A0040A}" type="parTrans" cxnId="{521D069A-0743-4ED9-A17B-1D6990F4D74A}">
      <dgm:prSet/>
      <dgm:spPr/>
      <dgm:t>
        <a:bodyPr/>
        <a:lstStyle/>
        <a:p>
          <a:endParaRPr lang="fi-FI"/>
        </a:p>
      </dgm:t>
    </dgm:pt>
    <dgm:pt modelId="{175F18FA-E0EB-4040-B1F0-2898DE0872EB}" type="sibTrans" cxnId="{521D069A-0743-4ED9-A17B-1D6990F4D74A}">
      <dgm:prSet/>
      <dgm:spPr/>
      <dgm:t>
        <a:bodyPr/>
        <a:lstStyle/>
        <a:p>
          <a:endParaRPr lang="fi-FI"/>
        </a:p>
      </dgm:t>
    </dgm:pt>
    <dgm:pt modelId="{9474C314-4DA5-487A-9338-AF7C83337BDB}">
      <dgm:prSet/>
      <dgm:spPr/>
      <dgm:t>
        <a:bodyPr/>
        <a:lstStyle/>
        <a:p>
          <a:r>
            <a:rPr lang="fi-FI" dirty="0"/>
            <a:t>solu tuottaa proteiineja</a:t>
          </a:r>
        </a:p>
      </dgm:t>
    </dgm:pt>
    <dgm:pt modelId="{9680DE05-A6BE-410B-BF6A-FB8B620EA0EA}" type="parTrans" cxnId="{3FCE3A14-11D3-4196-AAEB-44CDFCDFEC33}">
      <dgm:prSet/>
      <dgm:spPr/>
      <dgm:t>
        <a:bodyPr/>
        <a:lstStyle/>
        <a:p>
          <a:endParaRPr lang="fi-FI"/>
        </a:p>
      </dgm:t>
    </dgm:pt>
    <dgm:pt modelId="{908CADEE-EEEC-451C-BEDA-EFEDE9B156A9}" type="sibTrans" cxnId="{3FCE3A14-11D3-4196-AAEB-44CDFCDFEC33}">
      <dgm:prSet/>
      <dgm:spPr/>
      <dgm:t>
        <a:bodyPr/>
        <a:lstStyle/>
        <a:p>
          <a:endParaRPr lang="fi-FI"/>
        </a:p>
      </dgm:t>
    </dgm:pt>
    <dgm:pt modelId="{36FB2068-FD41-4718-990F-6918635F05A3}">
      <dgm:prSet/>
      <dgm:spPr/>
      <dgm:t>
        <a:bodyPr/>
        <a:lstStyle/>
        <a:p>
          <a:r>
            <a:rPr lang="fi-FI"/>
            <a:t>solun soluelimet lisääntyvät</a:t>
          </a:r>
          <a:endParaRPr lang="fi-FI" dirty="0"/>
        </a:p>
      </dgm:t>
    </dgm:pt>
    <dgm:pt modelId="{17E62E8C-8FEF-4E5B-9D09-6E23BF22CBA5}" type="parTrans" cxnId="{AE644B9E-AF17-4078-9B71-23DF9F2076CC}">
      <dgm:prSet/>
      <dgm:spPr/>
      <dgm:t>
        <a:bodyPr/>
        <a:lstStyle/>
        <a:p>
          <a:endParaRPr lang="fi-FI"/>
        </a:p>
      </dgm:t>
    </dgm:pt>
    <dgm:pt modelId="{C1E9EDE1-4804-4589-B3DA-E329D3B55921}" type="sibTrans" cxnId="{AE644B9E-AF17-4078-9B71-23DF9F2076CC}">
      <dgm:prSet/>
      <dgm:spPr/>
      <dgm:t>
        <a:bodyPr/>
        <a:lstStyle/>
        <a:p>
          <a:endParaRPr lang="fi-FI"/>
        </a:p>
      </dgm:t>
    </dgm:pt>
    <dgm:pt modelId="{B5217563-73D9-4195-ACC5-375AA8D5E5BD}">
      <dgm:prSet/>
      <dgm:spPr/>
      <dgm:t>
        <a:bodyPr/>
        <a:lstStyle/>
        <a:p>
          <a:r>
            <a:rPr lang="fi-FI" dirty="0"/>
            <a:t>yleensä suurin osa solun elämästä on välivaihetta</a:t>
          </a:r>
        </a:p>
      </dgm:t>
    </dgm:pt>
    <dgm:pt modelId="{5E950354-C522-45F3-9160-8C3A9E3B18C1}" type="parTrans" cxnId="{D4228064-4BE4-4A79-A779-73C1E6754CA7}">
      <dgm:prSet/>
      <dgm:spPr/>
      <dgm:t>
        <a:bodyPr/>
        <a:lstStyle/>
        <a:p>
          <a:endParaRPr lang="fi-FI"/>
        </a:p>
      </dgm:t>
    </dgm:pt>
    <dgm:pt modelId="{0F1563C3-3874-4F66-B16A-48AC1241729F}" type="sibTrans" cxnId="{D4228064-4BE4-4A79-A779-73C1E6754CA7}">
      <dgm:prSet/>
      <dgm:spPr/>
      <dgm:t>
        <a:bodyPr/>
        <a:lstStyle/>
        <a:p>
          <a:endParaRPr lang="fi-FI"/>
        </a:p>
      </dgm:t>
    </dgm:pt>
    <dgm:pt modelId="{389AE0D5-CCB2-461C-B68C-42F293D3BB9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mitoosi eli tumanjakautuminen</a:t>
          </a:r>
          <a:endParaRPr lang="fi-FI" dirty="0"/>
        </a:p>
      </dgm:t>
    </dgm:pt>
    <dgm:pt modelId="{BE856BF9-D88F-4365-8E4D-7111D4AEE6AF}" type="parTrans" cxnId="{D39694BF-FF8A-443B-88EC-ECECE0C89A35}">
      <dgm:prSet/>
      <dgm:spPr/>
      <dgm:t>
        <a:bodyPr/>
        <a:lstStyle/>
        <a:p>
          <a:endParaRPr lang="fi-FI"/>
        </a:p>
      </dgm:t>
    </dgm:pt>
    <dgm:pt modelId="{91D19813-4021-4484-AAF8-27C3D83463B1}" type="sibTrans" cxnId="{D39694BF-FF8A-443B-88EC-ECECE0C89A35}">
      <dgm:prSet/>
      <dgm:spPr/>
      <dgm:t>
        <a:bodyPr/>
        <a:lstStyle/>
        <a:p>
          <a:endParaRPr lang="fi-FI"/>
        </a:p>
      </dgm:t>
    </dgm:pt>
    <dgm:pt modelId="{A8231AE5-0AED-417B-8420-DF23B5FEB1C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soluliman jakautuminen</a:t>
          </a:r>
          <a:endParaRPr lang="fi-FI" dirty="0"/>
        </a:p>
      </dgm:t>
    </dgm:pt>
    <dgm:pt modelId="{53D31C74-4163-4844-83B0-9E6A8FB25AA9}" type="parTrans" cxnId="{040F47D1-7878-4321-99C5-D8AFDAC2F053}">
      <dgm:prSet/>
      <dgm:spPr/>
      <dgm:t>
        <a:bodyPr/>
        <a:lstStyle/>
        <a:p>
          <a:endParaRPr lang="fi-FI"/>
        </a:p>
      </dgm:t>
    </dgm:pt>
    <dgm:pt modelId="{FEBE4ADC-8116-4577-B757-449E79A8C087}" type="sibTrans" cxnId="{040F47D1-7878-4321-99C5-D8AFDAC2F053}">
      <dgm:prSet/>
      <dgm:spPr/>
      <dgm:t>
        <a:bodyPr/>
        <a:lstStyle/>
        <a:p>
          <a:endParaRPr lang="fi-FI"/>
        </a:p>
      </dgm:t>
    </dgm:pt>
    <dgm:pt modelId="{FC7BFCB5-C5C7-4C8E-8F34-31E2A6C15B38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 dirty="0"/>
            <a:t>yhdestä emosolusta syntyy kaksi perimältään identtistä tytärsolua</a:t>
          </a:r>
        </a:p>
      </dgm:t>
    </dgm:pt>
    <dgm:pt modelId="{7B97B666-5668-4CC3-8041-F7E5833BE94B}" type="parTrans" cxnId="{F7863DE7-7473-4FFB-90CF-53E69CDA015B}">
      <dgm:prSet/>
      <dgm:spPr/>
      <dgm:t>
        <a:bodyPr/>
        <a:lstStyle/>
        <a:p>
          <a:endParaRPr lang="fi-FI"/>
        </a:p>
      </dgm:t>
    </dgm:pt>
    <dgm:pt modelId="{82E32EE4-3B1D-4296-9123-86AB347C5F27}" type="sibTrans" cxnId="{F7863DE7-7473-4FFB-90CF-53E69CDA015B}">
      <dgm:prSet/>
      <dgm:spPr/>
      <dgm:t>
        <a:bodyPr/>
        <a:lstStyle/>
        <a:p>
          <a:endParaRPr lang="fi-FI"/>
        </a:p>
      </dgm:t>
    </dgm:pt>
    <dgm:pt modelId="{A08BA5B8-9C4F-47A9-9B86-B7BC1ED48715}">
      <dgm:prSet/>
      <dgm:spPr/>
      <dgm:t>
        <a:bodyPr/>
        <a:lstStyle/>
        <a:p>
          <a:endParaRPr lang="fi-FI" dirty="0"/>
        </a:p>
      </dgm:t>
    </dgm:pt>
    <dgm:pt modelId="{37D00D8B-8D68-4986-A8F5-6877BF07D21C}" type="parTrans" cxnId="{5C29F485-469E-4DA2-8EC9-776EFB27679E}">
      <dgm:prSet/>
      <dgm:spPr/>
      <dgm:t>
        <a:bodyPr/>
        <a:lstStyle/>
        <a:p>
          <a:endParaRPr lang="fi-FI"/>
        </a:p>
      </dgm:t>
    </dgm:pt>
    <dgm:pt modelId="{022A0486-1D2C-487F-91DB-50EC66B8596D}" type="sibTrans" cxnId="{5C29F485-469E-4DA2-8EC9-776EFB27679E}">
      <dgm:prSet/>
      <dgm:spPr/>
      <dgm:t>
        <a:bodyPr/>
        <a:lstStyle/>
        <a:p>
          <a:endParaRPr lang="fi-FI"/>
        </a:p>
      </dgm:t>
    </dgm:pt>
    <dgm:pt modelId="{72D63C22-DEF8-46BE-B065-0AA8DCFB6D86}">
      <dgm:prSet/>
      <dgm:spPr/>
      <dgm:t>
        <a:bodyPr/>
        <a:lstStyle/>
        <a:p>
          <a:pPr>
            <a:buFont typeface="Arial" charset="0"/>
            <a:buChar char="•"/>
          </a:pPr>
          <a:endParaRPr lang="fi-FI" dirty="0"/>
        </a:p>
      </dgm:t>
    </dgm:pt>
    <dgm:pt modelId="{AFDA7352-96A2-4E01-89CA-252CC34C7DDF}" type="parTrans" cxnId="{FE9B39C9-4787-4639-A086-80DF8CCEF3A4}">
      <dgm:prSet/>
      <dgm:spPr/>
      <dgm:t>
        <a:bodyPr/>
        <a:lstStyle/>
        <a:p>
          <a:endParaRPr lang="fi-FI"/>
        </a:p>
      </dgm:t>
    </dgm:pt>
    <dgm:pt modelId="{DEB8B380-600E-4E34-B672-7C2329D60F93}" type="sibTrans" cxnId="{FE9B39C9-4787-4639-A086-80DF8CCEF3A4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E7E7118-4C51-4671-8D4C-197F2855AD51}" type="pres">
      <dgm:prSet presAssocID="{909AA532-506D-4606-B4AA-A6C6B568EE38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F1735B7-10AE-4438-8296-CDAEED5049ED}" type="pres">
      <dgm:prSet presAssocID="{84F9C0A8-C2D1-4864-85C6-3B384E21C88D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F7863DE7-7473-4FFB-90CF-53E69CDA015B}" srcId="{84F9C0A8-C2D1-4864-85C6-3B384E21C88D}" destId="{FC7BFCB5-C5C7-4C8E-8F34-31E2A6C15B38}" srcOrd="2" destOrd="0" parTransId="{7B97B666-5668-4CC3-8041-F7E5833BE94B}" sibTransId="{82E32EE4-3B1D-4296-9123-86AB347C5F27}"/>
    <dgm:cxn modelId="{CCC332B5-D0FF-4EBB-AF30-A1EB363E2EA5}" type="presOf" srcId="{72D63C22-DEF8-46BE-B065-0AA8DCFB6D86}" destId="{FF1735B7-10AE-4438-8296-CDAEED5049ED}" srcOrd="0" destOrd="3" presId="urn:microsoft.com/office/officeart/2005/8/layout/vList2"/>
    <dgm:cxn modelId="{D4228064-4BE4-4A79-A779-73C1E6754CA7}" srcId="{909AA532-506D-4606-B4AA-A6C6B568EE38}" destId="{B5217563-73D9-4195-ACC5-375AA8D5E5BD}" srcOrd="3" destOrd="0" parTransId="{5E950354-C522-45F3-9160-8C3A9E3B18C1}" sibTransId="{0F1563C3-3874-4F66-B16A-48AC1241729F}"/>
    <dgm:cxn modelId="{AE644B9E-AF17-4078-9B71-23DF9F2076CC}" srcId="{909AA532-506D-4606-B4AA-A6C6B568EE38}" destId="{36FB2068-FD41-4718-990F-6918635F05A3}" srcOrd="2" destOrd="0" parTransId="{17E62E8C-8FEF-4E5B-9D09-6E23BF22CBA5}" sibTransId="{C1E9EDE1-4804-4589-B3DA-E329D3B55921}"/>
    <dgm:cxn modelId="{FE9B39C9-4787-4639-A086-80DF8CCEF3A4}" srcId="{84F9C0A8-C2D1-4864-85C6-3B384E21C88D}" destId="{72D63C22-DEF8-46BE-B065-0AA8DCFB6D86}" srcOrd="3" destOrd="0" parTransId="{AFDA7352-96A2-4E01-89CA-252CC34C7DDF}" sibTransId="{DEB8B380-600E-4E34-B672-7C2329D60F93}"/>
    <dgm:cxn modelId="{F345C6DF-1921-462C-A493-E4FAFA3FC747}" type="presOf" srcId="{A08BA5B8-9C4F-47A9-9B86-B7BC1ED48715}" destId="{FE7E7118-4C51-4671-8D4C-197F2855AD51}" srcOrd="0" destOrd="4" presId="urn:microsoft.com/office/officeart/2005/8/layout/vList2"/>
    <dgm:cxn modelId="{3FCE3A14-11D3-4196-AAEB-44CDFCDFEC33}" srcId="{909AA532-506D-4606-B4AA-A6C6B568EE38}" destId="{9474C314-4DA5-487A-9338-AF7C83337BDB}" srcOrd="1" destOrd="0" parTransId="{9680DE05-A6BE-410B-BF6A-FB8B620EA0EA}" sibTransId="{908CADEE-EEEC-451C-BEDA-EFEDE9B156A9}"/>
    <dgm:cxn modelId="{040F47D1-7878-4321-99C5-D8AFDAC2F053}" srcId="{84F9C0A8-C2D1-4864-85C6-3B384E21C88D}" destId="{A8231AE5-0AED-417B-8420-DF23B5FEB1C7}" srcOrd="1" destOrd="0" parTransId="{53D31C74-4163-4844-83B0-9E6A8FB25AA9}" sibTransId="{FEBE4ADC-8116-4577-B757-449E79A8C087}"/>
    <dgm:cxn modelId="{D39694BF-FF8A-443B-88EC-ECECE0C89A35}" srcId="{84F9C0A8-C2D1-4864-85C6-3B384E21C88D}" destId="{389AE0D5-CCB2-461C-B68C-42F293D3BB97}" srcOrd="0" destOrd="0" parTransId="{BE856BF9-D88F-4365-8E4D-7111D4AEE6AF}" sibTransId="{91D19813-4021-4484-AAF8-27C3D83463B1}"/>
    <dgm:cxn modelId="{81A6CCBD-C27B-4056-9683-7C4E871F6CBA}" type="presOf" srcId="{B5217563-73D9-4195-ACC5-375AA8D5E5BD}" destId="{FE7E7118-4C51-4671-8D4C-197F2855AD51}" srcOrd="0" destOrd="3" presId="urn:microsoft.com/office/officeart/2005/8/layout/vList2"/>
    <dgm:cxn modelId="{FAA6DB49-E212-40B7-84FE-0E5FBC8C6A1F}" type="presOf" srcId="{36FB2068-FD41-4718-990F-6918635F05A3}" destId="{FE7E7118-4C51-4671-8D4C-197F2855AD51}" srcOrd="0" destOrd="2" presId="urn:microsoft.com/office/officeart/2005/8/layout/vList2"/>
    <dgm:cxn modelId="{5C29F485-469E-4DA2-8EC9-776EFB27679E}" srcId="{909AA532-506D-4606-B4AA-A6C6B568EE38}" destId="{A08BA5B8-9C4F-47A9-9B86-B7BC1ED48715}" srcOrd="4" destOrd="0" parTransId="{37D00D8B-8D68-4986-A8F5-6877BF07D21C}" sibTransId="{022A0486-1D2C-487F-91DB-50EC66B8596D}"/>
    <dgm:cxn modelId="{4EC93CB0-AAF0-4951-8DBC-E6EC956C3138}" type="presOf" srcId="{A8231AE5-0AED-417B-8420-DF23B5FEB1C7}" destId="{FF1735B7-10AE-4438-8296-CDAEED5049ED}" srcOrd="0" destOrd="1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FE8AED88-2D39-4B13-877C-B6002A6081C4}" type="presOf" srcId="{FC7BFCB5-C5C7-4C8E-8F34-31E2A6C15B38}" destId="{FF1735B7-10AE-4438-8296-CDAEED5049ED}" srcOrd="0" destOrd="2" presId="urn:microsoft.com/office/officeart/2005/8/layout/vList2"/>
    <dgm:cxn modelId="{521D069A-0743-4ED9-A17B-1D6990F4D74A}" srcId="{909AA532-506D-4606-B4AA-A6C6B568EE38}" destId="{F0F9AED4-B451-4630-9BC8-C1356E362BB6}" srcOrd="0" destOrd="0" parTransId="{53F46392-E91D-4496-BDD0-C63B83A0040A}" sibTransId="{175F18FA-E0EB-4040-B1F0-2898DE0872EB}"/>
    <dgm:cxn modelId="{87ABF00D-9E6E-4DE8-96EE-3FE26E373606}" type="presOf" srcId="{9474C314-4DA5-487A-9338-AF7C83337BDB}" destId="{FE7E7118-4C51-4671-8D4C-197F2855AD51}" srcOrd="0" destOrd="1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6F92CFF3-BD75-4A79-901D-CE4294141848}" type="presOf" srcId="{F0F9AED4-B451-4630-9BC8-C1356E362BB6}" destId="{FE7E7118-4C51-4671-8D4C-197F2855AD51}" srcOrd="0" destOrd="0" presId="urn:microsoft.com/office/officeart/2005/8/layout/vList2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0FC0A0E6-D98B-4976-BFA2-CDB1C4649F72}" type="presOf" srcId="{389AE0D5-CCB2-461C-B68C-42F293D3BB97}" destId="{FF1735B7-10AE-4438-8296-CDAEED5049ED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6DD31173-46CB-4084-AFB2-F17B2CE835D4}" type="presParOf" srcId="{C98BB3D8-F1F9-4980-A813-50F0C2AEBD98}" destId="{FE7E7118-4C51-4671-8D4C-197F2855AD51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  <dgm:cxn modelId="{4CCA6E87-B571-47CC-951D-64DDE887D9EC}" type="presParOf" srcId="{C98BB3D8-F1F9-4980-A813-50F0C2AEBD98}" destId="{FF1735B7-10AE-4438-8296-CDAEED5049ED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/>
            <a:t>DNA kahdentuu eli tapahtuu replikaatio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27CB1"/>
        </a:solidFill>
      </dgm:spPr>
      <dgm:t>
        <a:bodyPr/>
        <a:lstStyle/>
        <a:p>
          <a:r>
            <a:rPr lang="fi-FI"/>
            <a:t>perinnöllinen informaatio siirtyy muuttumattomana solusukupolvelta toiselle</a:t>
          </a:r>
          <a:endParaRPr lang="fi-FI" dirty="0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9C3DB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/>
            <a:t>DNA:n kahdentuessa molempien DNA-juosteiden viereen rakentuu uusi juoste</a:t>
          </a:r>
          <a:endParaRPr lang="fi-FI" dirty="0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C4C255FF-92FF-471B-8D3B-53C98439C937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Uudet juosteet rakentaa DNA-polymeraasientsyymi</a:t>
          </a:r>
          <a:endParaRPr lang="fi-FI" dirty="0"/>
        </a:p>
      </dgm:t>
    </dgm:pt>
    <dgm:pt modelId="{31F8BD86-9C51-4247-B422-249F8667B8BF}" type="parTrans" cxnId="{E6BB5888-64EF-4691-ADD1-7CDE7026A54F}">
      <dgm:prSet/>
      <dgm:spPr/>
      <dgm:t>
        <a:bodyPr/>
        <a:lstStyle/>
        <a:p>
          <a:endParaRPr lang="fi-FI"/>
        </a:p>
      </dgm:t>
    </dgm:pt>
    <dgm:pt modelId="{B3ADA062-0E5B-4D66-A341-C9A77756A97F}" type="sibTrans" cxnId="{E6BB5888-64EF-4691-ADD1-7CDE7026A54F}">
      <dgm:prSet/>
      <dgm:spPr/>
      <dgm:t>
        <a:bodyPr/>
        <a:lstStyle/>
        <a:p>
          <a:endParaRPr lang="fi-FI"/>
        </a:p>
      </dgm:t>
    </dgm:pt>
    <dgm:pt modelId="{806B53B0-BF57-4D87-87F4-29546905DCD0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/>
            <a:t>Uudet juosteet rakentuvat emäspariperiaatteen mukaan</a:t>
          </a:r>
          <a:endParaRPr lang="fi-FI" dirty="0"/>
        </a:p>
      </dgm:t>
    </dgm:pt>
    <dgm:pt modelId="{C5DA9319-0A72-45DD-92DF-FE3889E64D0E}" type="parTrans" cxnId="{DB4B0999-B9FD-47A5-931E-786B2D6EEAEF}">
      <dgm:prSet/>
      <dgm:spPr/>
      <dgm:t>
        <a:bodyPr/>
        <a:lstStyle/>
        <a:p>
          <a:endParaRPr lang="fi-FI"/>
        </a:p>
      </dgm:t>
    </dgm:pt>
    <dgm:pt modelId="{44D33080-4CA3-453B-A10A-8EF805B2FF7F}" type="sibTrans" cxnId="{DB4B0999-B9FD-47A5-931E-786B2D6EEAEF}">
      <dgm:prSet/>
      <dgm:spPr/>
      <dgm:t>
        <a:bodyPr/>
        <a:lstStyle/>
        <a:p>
          <a:endParaRPr lang="fi-FI"/>
        </a:p>
      </dgm:t>
    </dgm:pt>
    <dgm:pt modelId="{FBF243D7-56FC-4A2F-982F-77BC47835100}">
      <dgm:prSet/>
      <dgm:spPr/>
      <dgm:t>
        <a:bodyPr/>
        <a:lstStyle/>
        <a:p>
          <a:pPr>
            <a:buFont typeface="Arial" charset="0"/>
            <a:buChar char="•"/>
          </a:pPr>
          <a:r>
            <a:rPr lang="fi-FI">
              <a:cs typeface="Calibri" panose="020F0502020204030204"/>
            </a:rPr>
            <a:t>Kahdentumisessa tarvitaan useita entsyymejä</a:t>
          </a:r>
          <a:endParaRPr lang="fi-FI" dirty="0">
            <a:cs typeface="Calibri" panose="020F0502020204030204"/>
          </a:endParaRPr>
        </a:p>
      </dgm:t>
    </dgm:pt>
    <dgm:pt modelId="{003F466B-541B-4677-8322-F3C33177E0B8}" type="parTrans" cxnId="{90CFD206-3B33-47FD-8170-F511C1FA4FAC}">
      <dgm:prSet/>
      <dgm:spPr/>
      <dgm:t>
        <a:bodyPr/>
        <a:lstStyle/>
        <a:p>
          <a:endParaRPr lang="fi-FI"/>
        </a:p>
      </dgm:t>
    </dgm:pt>
    <dgm:pt modelId="{ABB90BEB-1D02-44EE-9476-AC6C6AA37A3B}" type="sibTrans" cxnId="{90CFD206-3B33-47FD-8170-F511C1FA4FAC}">
      <dgm:prSet/>
      <dgm:spPr/>
      <dgm:t>
        <a:bodyPr/>
        <a:lstStyle/>
        <a:p>
          <a:endParaRPr lang="fi-FI"/>
        </a:p>
      </dgm:t>
    </dgm:pt>
    <dgm:pt modelId="{C98BB3D8-F1F9-4980-A813-50F0C2AEBD98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2041109-FF81-4945-89B7-A8A0C017B20F}" type="pres">
      <dgm:prSet presAssocID="{7BC353A9-2E9A-4B42-B9DF-3904A72B6A0E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2644E296-F578-45B8-8A54-6632C8CE62E1}" type="pres">
      <dgm:prSet presAssocID="{34A83047-F862-4DFB-A54B-26CD2997000F}" presName="spacer" presStyleCnt="0"/>
      <dgm:spPr/>
    </dgm:pt>
    <dgm:pt modelId="{BFD4EF96-1CE6-49E4-A2C5-AD9722D55C76}" type="pres">
      <dgm:prSet presAssocID="{909AA532-506D-4606-B4AA-A6C6B568EE38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976F983A-C06A-497B-BB0C-4112B1AF4AB7}" type="pres">
      <dgm:prSet presAssocID="{3752F3AD-DF89-4911-B284-6E754B9C35DA}" presName="spacer" presStyleCnt="0"/>
      <dgm:spPr/>
    </dgm:pt>
    <dgm:pt modelId="{BE92AD39-0414-4147-8835-B4B9C1A6BBEB}" type="pres">
      <dgm:prSet presAssocID="{84F9C0A8-C2D1-4864-85C6-3B384E21C88D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F1735B7-10AE-4438-8296-CDAEED5049ED}" type="pres">
      <dgm:prSet presAssocID="{84F9C0A8-C2D1-4864-85C6-3B384E21C88D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E6BB5888-64EF-4691-ADD1-7CDE7026A54F}" srcId="{84F9C0A8-C2D1-4864-85C6-3B384E21C88D}" destId="{C4C255FF-92FF-471B-8D3B-53C98439C937}" srcOrd="0" destOrd="0" parTransId="{31F8BD86-9C51-4247-B422-249F8667B8BF}" sibTransId="{B3ADA062-0E5B-4D66-A341-C9A77756A97F}"/>
    <dgm:cxn modelId="{E4806ACC-AEA1-472D-A93C-855DBE23568B}" type="presOf" srcId="{C4C255FF-92FF-471B-8D3B-53C98439C937}" destId="{FF1735B7-10AE-4438-8296-CDAEED5049ED}" srcOrd="0" destOrd="0" presId="urn:microsoft.com/office/officeart/2005/8/layout/vList2"/>
    <dgm:cxn modelId="{DB4B0999-B9FD-47A5-931E-786B2D6EEAEF}" srcId="{84F9C0A8-C2D1-4864-85C6-3B384E21C88D}" destId="{806B53B0-BF57-4D87-87F4-29546905DCD0}" srcOrd="1" destOrd="0" parTransId="{C5DA9319-0A72-45DD-92DF-FE3889E64D0E}" sibTransId="{44D33080-4CA3-453B-A10A-8EF805B2FF7F}"/>
    <dgm:cxn modelId="{E7E6C3F5-A5B5-4730-96F5-7FBA34FAA6D2}" type="presOf" srcId="{84F9C0A8-C2D1-4864-85C6-3B384E21C88D}" destId="{BE92AD39-0414-4147-8835-B4B9C1A6BBEB}" srcOrd="0" destOrd="0" presId="urn:microsoft.com/office/officeart/2005/8/layout/vList2"/>
    <dgm:cxn modelId="{A8E54FE1-3D62-4D1D-B9FE-BD9E679753CC}" type="presOf" srcId="{FBF243D7-56FC-4A2F-982F-77BC47835100}" destId="{FF1735B7-10AE-4438-8296-CDAEED5049ED}" srcOrd="0" destOrd="2" presId="urn:microsoft.com/office/officeart/2005/8/layout/vList2"/>
    <dgm:cxn modelId="{EBF53685-F8AF-407C-AE81-06CBD11601DB}" type="presOf" srcId="{7BC353A9-2E9A-4B42-B9DF-3904A72B6A0E}" destId="{A2041109-FF81-4945-89B7-A8A0C017B20F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90CFD206-3B33-47FD-8170-F511C1FA4FAC}" srcId="{84F9C0A8-C2D1-4864-85C6-3B384E21C88D}" destId="{FBF243D7-56FC-4A2F-982F-77BC47835100}" srcOrd="2" destOrd="0" parTransId="{003F466B-541B-4677-8322-F3C33177E0B8}" sibTransId="{ABB90BEB-1D02-44EE-9476-AC6C6AA37A3B}"/>
    <dgm:cxn modelId="{BD2B51D4-B47F-4E45-B528-C8E4410937AE}" type="presOf" srcId="{806B53B0-BF57-4D87-87F4-29546905DCD0}" destId="{FF1735B7-10AE-4438-8296-CDAEED5049ED}" srcOrd="0" destOrd="1" presId="urn:microsoft.com/office/officeart/2005/8/layout/vList2"/>
    <dgm:cxn modelId="{2F684C18-DCEF-46D2-9A63-647C8D2D0FAB}" type="presOf" srcId="{909AA532-506D-4606-B4AA-A6C6B568EE38}" destId="{BFD4EF96-1CE6-49E4-A2C5-AD9722D55C76}" srcOrd="0" destOrd="0" presId="urn:microsoft.com/office/officeart/2005/8/layout/vList2"/>
    <dgm:cxn modelId="{2190204B-2E81-4C25-B1E5-1613564821A5}" type="presOf" srcId="{005063B7-85D1-441D-87C6-864638207FCC}" destId="{C98BB3D8-F1F9-4980-A813-50F0C2AEBD98}" srcOrd="0" destOrd="0" presId="urn:microsoft.com/office/officeart/2005/8/layout/vList2"/>
    <dgm:cxn modelId="{67A47AC9-1A43-4843-9DCD-06B8C85015CF}" type="presParOf" srcId="{C98BB3D8-F1F9-4980-A813-50F0C2AEBD98}" destId="{A2041109-FF81-4945-89B7-A8A0C017B20F}" srcOrd="0" destOrd="0" presId="urn:microsoft.com/office/officeart/2005/8/layout/vList2"/>
    <dgm:cxn modelId="{0F087415-8901-4023-BBD3-E2FABFEB48F2}" type="presParOf" srcId="{C98BB3D8-F1F9-4980-A813-50F0C2AEBD98}" destId="{2644E296-F578-45B8-8A54-6632C8CE62E1}" srcOrd="1" destOrd="0" presId="urn:microsoft.com/office/officeart/2005/8/layout/vList2"/>
    <dgm:cxn modelId="{B0F308E7-5213-449E-BA91-69188B44CEA9}" type="presParOf" srcId="{C98BB3D8-F1F9-4980-A813-50F0C2AEBD98}" destId="{BFD4EF96-1CE6-49E4-A2C5-AD9722D55C76}" srcOrd="2" destOrd="0" presId="urn:microsoft.com/office/officeart/2005/8/layout/vList2"/>
    <dgm:cxn modelId="{99D73BF1-F76E-4FC5-AD36-7B130A265C43}" type="presParOf" srcId="{C98BB3D8-F1F9-4980-A813-50F0C2AEBD98}" destId="{976F983A-C06A-497B-BB0C-4112B1AF4AB7}" srcOrd="3" destOrd="0" presId="urn:microsoft.com/office/officeart/2005/8/layout/vList2"/>
    <dgm:cxn modelId="{AFE372D8-9338-4E43-BD02-78877E84AB77}" type="presParOf" srcId="{C98BB3D8-F1F9-4980-A813-50F0C2AEBD98}" destId="{BE92AD39-0414-4147-8835-B4B9C1A6BBEB}" srcOrd="4" destOrd="0" presId="urn:microsoft.com/office/officeart/2005/8/layout/vList2"/>
    <dgm:cxn modelId="{4CCA6E87-B571-47CC-951D-64DDE887D9EC}" type="presParOf" srcId="{C98BB3D8-F1F9-4980-A813-50F0C2AEBD98}" destId="{FF1735B7-10AE-4438-8296-CDAEED5049ED}" srcOrd="5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Process5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1. Kahdentumisen alkaessa </a:t>
          </a:r>
          <a:r>
            <a:rPr lang="fi-FI" dirty="0" err="1">
              <a:cs typeface="Calibri"/>
            </a:rPr>
            <a:t>helikaasientsyymi</a:t>
          </a:r>
          <a:r>
            <a:rPr lang="fi-FI" dirty="0">
              <a:cs typeface="Calibri"/>
            </a:rPr>
            <a:t> avaa kaksoisjuosteen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06AA7"/>
        </a:solidFill>
      </dgm:spPr>
      <dgm:t>
        <a:bodyPr/>
        <a:lstStyle/>
        <a:p>
          <a:r>
            <a:rPr lang="fi-FI" dirty="0">
              <a:cs typeface="Calibri"/>
            </a:rPr>
            <a:t>2. DNA-polymeraasi kiinnittää </a:t>
          </a:r>
          <a:r>
            <a:rPr lang="fi-FI" dirty="0" err="1">
              <a:cs typeface="Calibri"/>
            </a:rPr>
            <a:t>nukleotideja</a:t>
          </a:r>
          <a:r>
            <a:rPr lang="fi-FI" dirty="0">
              <a:cs typeface="Calibri"/>
            </a:rPr>
            <a:t> emäspariperiaatteen mukaan juosteiden viereen.</a:t>
          </a:r>
          <a:endParaRPr lang="fi-FI" dirty="0"/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84F9C0A8-C2D1-4864-85C6-3B384E21C88D}">
      <dgm:prSet/>
      <dgm:spPr>
        <a:solidFill>
          <a:srgbClr val="F27CB1"/>
        </a:solidFill>
      </dgm:spPr>
      <dgm:t>
        <a:bodyPr/>
        <a:lstStyle/>
        <a:p>
          <a:pPr>
            <a:buFont typeface="Arial" charset="0"/>
            <a:buChar char="•"/>
          </a:pPr>
          <a:r>
            <a:rPr lang="fi-FI" dirty="0">
              <a:cs typeface="Calibri"/>
            </a:rPr>
            <a:t>3. Toimiakseen DNA-polymeraasi tarvitsee RNA-alukkeen</a:t>
          </a:r>
          <a:endParaRPr lang="fi-FI" dirty="0"/>
        </a:p>
      </dgm:t>
    </dgm:pt>
    <dgm:pt modelId="{4B930698-118D-4CF9-A9EE-D20AB3B2B529}" type="sibTrans" cxnId="{2C7106AC-3DCE-485F-9E58-78CE9609C63E}">
      <dgm:prSet/>
      <dgm:spPr/>
      <dgm:t>
        <a:bodyPr/>
        <a:lstStyle/>
        <a:p>
          <a:endParaRPr lang="fi-FI"/>
        </a:p>
      </dgm:t>
    </dgm:pt>
    <dgm:pt modelId="{AF1C7638-99FC-4541-867C-926AF13CCD14}" type="parTrans" cxnId="{2C7106AC-3DCE-485F-9E58-78CE9609C63E}">
      <dgm:prSet/>
      <dgm:spPr/>
      <dgm:t>
        <a:bodyPr/>
        <a:lstStyle/>
        <a:p>
          <a:endParaRPr lang="fi-FI"/>
        </a:p>
      </dgm:t>
    </dgm:pt>
    <dgm:pt modelId="{B24D0500-F20B-4154-AB78-9D8876D7245C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4. Toinen juosteista rakentuu paloina ja DNA-polymeraasi tarvitsee useita alukkeita.</a:t>
          </a:r>
          <a:endParaRPr lang="fi-FI" dirty="0"/>
        </a:p>
      </dgm:t>
    </dgm:pt>
    <dgm:pt modelId="{A5EBAA77-8BE8-4667-A127-98505118398F}" type="parTrans" cxnId="{5FA6EA9D-97B8-4106-95C2-DDC0DD6738F7}">
      <dgm:prSet/>
      <dgm:spPr/>
      <dgm:t>
        <a:bodyPr/>
        <a:lstStyle/>
        <a:p>
          <a:endParaRPr lang="fi-FI"/>
        </a:p>
      </dgm:t>
    </dgm:pt>
    <dgm:pt modelId="{CA7832D2-2110-409B-975C-EA1681C0E7E9}" type="sibTrans" cxnId="{5FA6EA9D-97B8-4106-95C2-DDC0DD6738F7}">
      <dgm:prSet/>
      <dgm:spPr/>
      <dgm:t>
        <a:bodyPr/>
        <a:lstStyle/>
        <a:p>
          <a:endParaRPr lang="fi-FI"/>
        </a:p>
      </dgm:t>
    </dgm:pt>
    <dgm:pt modelId="{3BF42CFD-9828-4408-9306-EEAE53761D4A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5. Liittäjäentsyymi liittää palat yhteen</a:t>
          </a:r>
          <a:endParaRPr lang="fi-FI" dirty="0"/>
        </a:p>
      </dgm:t>
    </dgm:pt>
    <dgm:pt modelId="{BAF5EF37-CD12-4B4E-A308-96193BC7C202}" type="parTrans" cxnId="{F9453EDA-0B12-4D55-97E3-C00FDD7BE7EC}">
      <dgm:prSet/>
      <dgm:spPr/>
      <dgm:t>
        <a:bodyPr/>
        <a:lstStyle/>
        <a:p>
          <a:endParaRPr lang="fi-FI"/>
        </a:p>
      </dgm:t>
    </dgm:pt>
    <dgm:pt modelId="{5443D414-EDAD-40D1-BD18-58543BC609C6}" type="sibTrans" cxnId="{F9453EDA-0B12-4D55-97E3-C00FDD7BE7EC}">
      <dgm:prSet/>
      <dgm:spPr/>
      <dgm:t>
        <a:bodyPr/>
        <a:lstStyle/>
        <a:p>
          <a:endParaRPr lang="fi-FI"/>
        </a:p>
      </dgm:t>
    </dgm:pt>
    <dgm:pt modelId="{75BC19D4-4A54-48E3-AF5F-D590C9D0AABA}" type="pres">
      <dgm:prSet presAssocID="{005063B7-85D1-441D-87C6-864638207FCC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70FA58E5-3DB1-4815-8C2E-7EB53DFDC229}" type="pres">
      <dgm:prSet presAssocID="{005063B7-85D1-441D-87C6-864638207FCC}" presName="dummyMaxCanvas" presStyleCnt="0">
        <dgm:presLayoutVars/>
      </dgm:prSet>
      <dgm:spPr/>
    </dgm:pt>
    <dgm:pt modelId="{C864316C-A1AF-4559-BE8C-7BAD0A52C348}" type="pres">
      <dgm:prSet presAssocID="{005063B7-85D1-441D-87C6-864638207FCC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C6561706-8017-476D-B5AC-6B672A802971}" type="pres">
      <dgm:prSet presAssocID="{005063B7-85D1-441D-87C6-864638207FCC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7D3F52FF-D70C-4D91-BBE9-D30FCB0BA85A}" type="pres">
      <dgm:prSet presAssocID="{005063B7-85D1-441D-87C6-864638207FCC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3859C007-451E-4D3D-9B26-4073FB1DF25B}" type="pres">
      <dgm:prSet presAssocID="{005063B7-85D1-441D-87C6-864638207FCC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682D0C80-BA1F-4212-B47B-6617A2EF9D69}" type="pres">
      <dgm:prSet presAssocID="{005063B7-85D1-441D-87C6-864638207FCC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ED864F53-A76F-4A4A-AD80-030E3595402C}" type="pres">
      <dgm:prSet presAssocID="{005063B7-85D1-441D-87C6-864638207FCC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433AAC31-0EA8-4393-9DD0-0A54212A7A4F}" type="pres">
      <dgm:prSet presAssocID="{005063B7-85D1-441D-87C6-864638207FCC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33D0F394-C6FA-4064-B5B6-55B705A6596A}" type="pres">
      <dgm:prSet presAssocID="{005063B7-85D1-441D-87C6-864638207FCC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A7B0F30A-B6DA-4473-98B8-EB02AC47E5B5}" type="pres">
      <dgm:prSet presAssocID="{005063B7-85D1-441D-87C6-864638207FCC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4AA2C478-9EB8-4ABB-80F5-2F4F349013CE}" type="pres">
      <dgm:prSet presAssocID="{005063B7-85D1-441D-87C6-864638207FCC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A9A8A5B4-A9AF-4C59-BE9C-5C60CE8369DB}" type="pres">
      <dgm:prSet presAssocID="{005063B7-85D1-441D-87C6-864638207FCC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E7A15FD2-C846-441A-816A-3B1F2356502F}" type="pres">
      <dgm:prSet presAssocID="{005063B7-85D1-441D-87C6-864638207FCC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B3B1054E-72AC-43AD-AB8E-D7F5A356F0C5}" type="pres">
      <dgm:prSet presAssocID="{005063B7-85D1-441D-87C6-864638207FCC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D8125DBC-1860-4393-AF86-CEAB42D3B2B2}" type="pres">
      <dgm:prSet presAssocID="{005063B7-85D1-441D-87C6-864638207FCC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EC85B785-8DCD-4C2E-8551-7F0676AF3494}" type="presOf" srcId="{B24D0500-F20B-4154-AB78-9D8876D7245C}" destId="{3859C007-451E-4D3D-9B26-4073FB1DF25B}" srcOrd="0" destOrd="0" presId="urn:microsoft.com/office/officeart/2005/8/layout/vProcess5"/>
    <dgm:cxn modelId="{2C7106AC-3DCE-485F-9E58-78CE9609C63E}" srcId="{005063B7-85D1-441D-87C6-864638207FCC}" destId="{84F9C0A8-C2D1-4864-85C6-3B384E21C88D}" srcOrd="2" destOrd="0" parTransId="{AF1C7638-99FC-4541-867C-926AF13CCD14}" sibTransId="{4B930698-118D-4CF9-A9EE-D20AB3B2B529}"/>
    <dgm:cxn modelId="{1BF62B5F-9FAF-4E94-87D1-AB58B6530524}" type="presOf" srcId="{4B930698-118D-4CF9-A9EE-D20AB3B2B529}" destId="{33D0F394-C6FA-4064-B5B6-55B705A6596A}" srcOrd="0" destOrd="0" presId="urn:microsoft.com/office/officeart/2005/8/layout/vProcess5"/>
    <dgm:cxn modelId="{EB03F988-58F9-404E-B2EB-053B1F67E4BB}" type="presOf" srcId="{7BC353A9-2E9A-4B42-B9DF-3904A72B6A0E}" destId="{C864316C-A1AF-4559-BE8C-7BAD0A52C348}" srcOrd="0" destOrd="0" presId="urn:microsoft.com/office/officeart/2005/8/layout/vProcess5"/>
    <dgm:cxn modelId="{84CEA25D-35A2-4E72-BA31-5EA3AC0BCEF3}" type="presOf" srcId="{909AA532-506D-4606-B4AA-A6C6B568EE38}" destId="{C6561706-8017-476D-B5AC-6B672A802971}" srcOrd="0" destOrd="0" presId="urn:microsoft.com/office/officeart/2005/8/layout/vProcess5"/>
    <dgm:cxn modelId="{626353B1-4915-4844-AB4E-B07377C3CB17}" type="presOf" srcId="{909AA532-506D-4606-B4AA-A6C6B568EE38}" destId="{A9A8A5B4-A9AF-4C59-BE9C-5C60CE8369DB}" srcOrd="1" destOrd="0" presId="urn:microsoft.com/office/officeart/2005/8/layout/vProcess5"/>
    <dgm:cxn modelId="{F9453EDA-0B12-4D55-97E3-C00FDD7BE7EC}" srcId="{005063B7-85D1-441D-87C6-864638207FCC}" destId="{3BF42CFD-9828-4408-9306-EEAE53761D4A}" srcOrd="4" destOrd="0" parTransId="{BAF5EF37-CD12-4B4E-A308-96193BC7C202}" sibTransId="{5443D414-EDAD-40D1-BD18-58543BC609C6}"/>
    <dgm:cxn modelId="{14C6001A-06E4-4B02-AA08-8D55E407215C}" type="presOf" srcId="{84F9C0A8-C2D1-4864-85C6-3B384E21C88D}" destId="{E7A15FD2-C846-441A-816A-3B1F2356502F}" srcOrd="1" destOrd="0" presId="urn:microsoft.com/office/officeart/2005/8/layout/vProcess5"/>
    <dgm:cxn modelId="{0DD07275-84FA-48D9-8443-84BE63EB72EF}" type="presOf" srcId="{3752F3AD-DF89-4911-B284-6E754B9C35DA}" destId="{433AAC31-0EA8-4393-9DD0-0A54212A7A4F}" srcOrd="0" destOrd="0" presId="urn:microsoft.com/office/officeart/2005/8/layout/vProcess5"/>
    <dgm:cxn modelId="{C4721D99-5906-41C5-A8F6-ACF28B2C4855}" type="presOf" srcId="{005063B7-85D1-441D-87C6-864638207FCC}" destId="{75BC19D4-4A54-48E3-AF5F-D590C9D0AABA}" srcOrd="0" destOrd="0" presId="urn:microsoft.com/office/officeart/2005/8/layout/vProcess5"/>
    <dgm:cxn modelId="{782711FC-719A-41B1-96E8-53FB8D042A11}" type="presOf" srcId="{3BF42CFD-9828-4408-9306-EEAE53761D4A}" destId="{682D0C80-BA1F-4212-B47B-6617A2EF9D69}" srcOrd="0" destOrd="0" presId="urn:microsoft.com/office/officeart/2005/8/layout/vProcess5"/>
    <dgm:cxn modelId="{00C84400-B720-496C-A230-93D3CB4EA516}" type="presOf" srcId="{84F9C0A8-C2D1-4864-85C6-3B384E21C88D}" destId="{7D3F52FF-D70C-4D91-BBE9-D30FCB0BA85A}" srcOrd="0" destOrd="0" presId="urn:microsoft.com/office/officeart/2005/8/layout/vProcess5"/>
    <dgm:cxn modelId="{945DDFCA-53CA-4BBD-9627-2D4C4D4CA375}" type="presOf" srcId="{34A83047-F862-4DFB-A54B-26CD2997000F}" destId="{ED864F53-A76F-4A4A-AD80-030E3595402C}" srcOrd="0" destOrd="0" presId="urn:microsoft.com/office/officeart/2005/8/layout/vProcess5"/>
    <dgm:cxn modelId="{5FA6EA9D-97B8-4106-95C2-DDC0DD6738F7}" srcId="{005063B7-85D1-441D-87C6-864638207FCC}" destId="{B24D0500-F20B-4154-AB78-9D8876D7245C}" srcOrd="3" destOrd="0" parTransId="{A5EBAA77-8BE8-4667-A127-98505118398F}" sibTransId="{CA7832D2-2110-409B-975C-EA1681C0E7E9}"/>
    <dgm:cxn modelId="{C768E56E-6355-4221-A53F-0F62656E07B5}" type="presOf" srcId="{3BF42CFD-9828-4408-9306-EEAE53761D4A}" destId="{D8125DBC-1860-4393-AF86-CEAB42D3B2B2}" srcOrd="1" destOrd="0" presId="urn:microsoft.com/office/officeart/2005/8/layout/vProcess5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5F4E5760-A130-49D5-B703-82162AC841F7}" type="presOf" srcId="{CA7832D2-2110-409B-975C-EA1681C0E7E9}" destId="{A7B0F30A-B6DA-4473-98B8-EB02AC47E5B5}" srcOrd="0" destOrd="0" presId="urn:microsoft.com/office/officeart/2005/8/layout/vProcess5"/>
    <dgm:cxn modelId="{FF4FD623-5648-4D78-9858-76602B3327D1}" type="presOf" srcId="{7BC353A9-2E9A-4B42-B9DF-3904A72B6A0E}" destId="{4AA2C478-9EB8-4ABB-80F5-2F4F349013CE}" srcOrd="1" destOrd="0" presId="urn:microsoft.com/office/officeart/2005/8/layout/vProcess5"/>
    <dgm:cxn modelId="{EE385803-65C5-4E5E-8F39-17E0A8BA6D1B}" type="presOf" srcId="{B24D0500-F20B-4154-AB78-9D8876D7245C}" destId="{B3B1054E-72AC-43AD-AB8E-D7F5A356F0C5}" srcOrd="1" destOrd="0" presId="urn:microsoft.com/office/officeart/2005/8/layout/vProcess5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2720AC42-E09B-47DE-8AC6-E9BF0BBCEF98}" type="presParOf" srcId="{75BC19D4-4A54-48E3-AF5F-D590C9D0AABA}" destId="{70FA58E5-3DB1-4815-8C2E-7EB53DFDC229}" srcOrd="0" destOrd="0" presId="urn:microsoft.com/office/officeart/2005/8/layout/vProcess5"/>
    <dgm:cxn modelId="{2597D481-0E8D-4B48-BD77-1618B75D8C53}" type="presParOf" srcId="{75BC19D4-4A54-48E3-AF5F-D590C9D0AABA}" destId="{C864316C-A1AF-4559-BE8C-7BAD0A52C348}" srcOrd="1" destOrd="0" presId="urn:microsoft.com/office/officeart/2005/8/layout/vProcess5"/>
    <dgm:cxn modelId="{A3535833-CB46-42CA-BE3C-517A52B6594E}" type="presParOf" srcId="{75BC19D4-4A54-48E3-AF5F-D590C9D0AABA}" destId="{C6561706-8017-476D-B5AC-6B672A802971}" srcOrd="2" destOrd="0" presId="urn:microsoft.com/office/officeart/2005/8/layout/vProcess5"/>
    <dgm:cxn modelId="{D79A7064-6C9D-4143-8222-D058EC86DF83}" type="presParOf" srcId="{75BC19D4-4A54-48E3-AF5F-D590C9D0AABA}" destId="{7D3F52FF-D70C-4D91-BBE9-D30FCB0BA85A}" srcOrd="3" destOrd="0" presId="urn:microsoft.com/office/officeart/2005/8/layout/vProcess5"/>
    <dgm:cxn modelId="{499ED3BE-704D-40C9-862E-48C4413D06E8}" type="presParOf" srcId="{75BC19D4-4A54-48E3-AF5F-D590C9D0AABA}" destId="{3859C007-451E-4D3D-9B26-4073FB1DF25B}" srcOrd="4" destOrd="0" presId="urn:microsoft.com/office/officeart/2005/8/layout/vProcess5"/>
    <dgm:cxn modelId="{E01833BF-3031-4B9D-BD27-3AD7CB888F26}" type="presParOf" srcId="{75BC19D4-4A54-48E3-AF5F-D590C9D0AABA}" destId="{682D0C80-BA1F-4212-B47B-6617A2EF9D69}" srcOrd="5" destOrd="0" presId="urn:microsoft.com/office/officeart/2005/8/layout/vProcess5"/>
    <dgm:cxn modelId="{286A80B6-6351-49F7-A7A6-9D8C099E909E}" type="presParOf" srcId="{75BC19D4-4A54-48E3-AF5F-D590C9D0AABA}" destId="{ED864F53-A76F-4A4A-AD80-030E3595402C}" srcOrd="6" destOrd="0" presId="urn:microsoft.com/office/officeart/2005/8/layout/vProcess5"/>
    <dgm:cxn modelId="{CCD75A8B-78CA-4E6F-B5AF-B39391817C4F}" type="presParOf" srcId="{75BC19D4-4A54-48E3-AF5F-D590C9D0AABA}" destId="{433AAC31-0EA8-4393-9DD0-0A54212A7A4F}" srcOrd="7" destOrd="0" presId="urn:microsoft.com/office/officeart/2005/8/layout/vProcess5"/>
    <dgm:cxn modelId="{1EEBBF17-94AE-41B5-91C3-22929ED9B2A0}" type="presParOf" srcId="{75BC19D4-4A54-48E3-AF5F-D590C9D0AABA}" destId="{33D0F394-C6FA-4064-B5B6-55B705A6596A}" srcOrd="8" destOrd="0" presId="urn:microsoft.com/office/officeart/2005/8/layout/vProcess5"/>
    <dgm:cxn modelId="{8E149F49-89E7-4A32-A2FD-341371125FE3}" type="presParOf" srcId="{75BC19D4-4A54-48E3-AF5F-D590C9D0AABA}" destId="{A7B0F30A-B6DA-4473-98B8-EB02AC47E5B5}" srcOrd="9" destOrd="0" presId="urn:microsoft.com/office/officeart/2005/8/layout/vProcess5"/>
    <dgm:cxn modelId="{55D2CC19-0EB5-4643-A06F-5E12DA296497}" type="presParOf" srcId="{75BC19D4-4A54-48E3-AF5F-D590C9D0AABA}" destId="{4AA2C478-9EB8-4ABB-80F5-2F4F349013CE}" srcOrd="10" destOrd="0" presId="urn:microsoft.com/office/officeart/2005/8/layout/vProcess5"/>
    <dgm:cxn modelId="{41183E56-ADFF-4359-828F-E39FDCF36E35}" type="presParOf" srcId="{75BC19D4-4A54-48E3-AF5F-D590C9D0AABA}" destId="{A9A8A5B4-A9AF-4C59-BE9C-5C60CE8369DB}" srcOrd="11" destOrd="0" presId="urn:microsoft.com/office/officeart/2005/8/layout/vProcess5"/>
    <dgm:cxn modelId="{9D1629D0-3F88-40E8-8917-B9198A1BBBED}" type="presParOf" srcId="{75BC19D4-4A54-48E3-AF5F-D590C9D0AABA}" destId="{E7A15FD2-C846-441A-816A-3B1F2356502F}" srcOrd="12" destOrd="0" presId="urn:microsoft.com/office/officeart/2005/8/layout/vProcess5"/>
    <dgm:cxn modelId="{0BC5A087-905E-4E17-9D7F-D5FD2AF3BF97}" type="presParOf" srcId="{75BC19D4-4A54-48E3-AF5F-D590C9D0AABA}" destId="{B3B1054E-72AC-43AD-AB8E-D7F5A356F0C5}" srcOrd="13" destOrd="0" presId="urn:microsoft.com/office/officeart/2005/8/layout/vProcess5"/>
    <dgm:cxn modelId="{FCB26F9C-0B0F-4EA0-B41C-D84D7AE84538}" type="presParOf" srcId="{75BC19D4-4A54-48E3-AF5F-D590C9D0AABA}" destId="{D8125DBC-1860-4393-AF86-CEAB42D3B2B2}" srcOrd="14" destOrd="0" presId="urn:microsoft.com/office/officeart/2005/8/layout/vProcess5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DNA:n kopioitumisessa tapahtuu virheitä, joita entsyymit pyrkivät tunnistamaan ja korjaamaan</a:t>
          </a:r>
          <a:endParaRPr lang="fi-FI" dirty="0"/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1883DAAD-B914-46AE-AF12-1368ABAE852A}">
      <dgm:prSet/>
      <dgm:spPr>
        <a:solidFill>
          <a:srgbClr val="F27CB1"/>
        </a:solidFill>
      </dgm:spPr>
      <dgm:t>
        <a:bodyPr/>
        <a:lstStyle/>
        <a:p>
          <a:pPr marR="0" eaLnBrk="1" fontAlgn="auto" latinLnBrk="0" hangingPunct="1">
            <a:buClrTx/>
            <a:buSzTx/>
            <a:buFontTx/>
            <a:buNone/>
            <a:tabLst/>
            <a:defRPr/>
          </a:pPr>
          <a:r>
            <a:rPr lang="fi-FI" dirty="0">
              <a:cs typeface="Calibri"/>
            </a:rPr>
            <a:t>Pysyvät virheet ovat mutaatioita</a:t>
          </a:r>
          <a:endParaRPr lang="fi-FI" dirty="0"/>
        </a:p>
      </dgm:t>
    </dgm:pt>
    <dgm:pt modelId="{E6EF78C5-C92D-489D-86F0-D92A96D5E1E6}" type="parTrans" cxnId="{CB772ECB-BC5A-4ACA-846A-ED5E25BFC635}">
      <dgm:prSet/>
      <dgm:spPr/>
      <dgm:t>
        <a:bodyPr/>
        <a:lstStyle/>
        <a:p>
          <a:endParaRPr lang="fi-FI"/>
        </a:p>
      </dgm:t>
    </dgm:pt>
    <dgm:pt modelId="{FB9A18A9-D930-436F-A855-CB98669791D4}" type="sibTrans" cxnId="{CB772ECB-BC5A-4ACA-846A-ED5E25BFC635}">
      <dgm:prSet/>
      <dgm:spPr/>
      <dgm:t>
        <a:bodyPr/>
        <a:lstStyle/>
        <a:p>
          <a:endParaRPr lang="fi-FI"/>
        </a:p>
      </dgm:t>
    </dgm:pt>
    <dgm:pt modelId="{E0BDD789-F9FD-4EF1-978B-33998C1FD035}">
      <dgm:prSet/>
      <dgm:spPr>
        <a:solidFill>
          <a:srgbClr val="F599C3"/>
        </a:solidFill>
      </dgm:spPr>
      <dgm:t>
        <a:bodyPr/>
        <a:lstStyle/>
        <a:p>
          <a:r>
            <a:rPr lang="fi-FI" dirty="0">
              <a:cs typeface="Calibri"/>
            </a:rPr>
            <a:t>Geenimutaatio</a:t>
          </a:r>
          <a:endParaRPr lang="fi-FI" dirty="0"/>
        </a:p>
      </dgm:t>
    </dgm:pt>
    <dgm:pt modelId="{D9564D4E-70D2-44A4-BFEF-1D309551C0D1}" type="parTrans" cxnId="{D2653E0F-8FCD-4107-B9B5-0D78E76523D0}">
      <dgm:prSet/>
      <dgm:spPr/>
      <dgm:t>
        <a:bodyPr/>
        <a:lstStyle/>
        <a:p>
          <a:endParaRPr lang="fi-FI"/>
        </a:p>
      </dgm:t>
    </dgm:pt>
    <dgm:pt modelId="{31A728FC-EDDB-46F2-ACB9-66D66DD2A4AA}" type="sibTrans" cxnId="{D2653E0F-8FCD-4107-B9B5-0D78E76523D0}">
      <dgm:prSet/>
      <dgm:spPr/>
      <dgm:t>
        <a:bodyPr/>
        <a:lstStyle/>
        <a:p>
          <a:endParaRPr lang="fi-FI"/>
        </a:p>
      </dgm:t>
    </dgm:pt>
    <dgm:pt modelId="{F7CAB8C7-41E0-4965-A52A-F1A9012378FC}">
      <dgm:prSet/>
      <dgm:spPr>
        <a:solidFill>
          <a:srgbClr val="F9C3DB"/>
        </a:solidFill>
      </dgm:spPr>
      <dgm:t>
        <a:bodyPr/>
        <a:lstStyle/>
        <a:p>
          <a:r>
            <a:rPr lang="fi-FI" dirty="0">
              <a:cs typeface="Calibri"/>
            </a:rPr>
            <a:t>Pistemutaatio on yhden </a:t>
          </a:r>
          <a:r>
            <a:rPr lang="fi-FI" dirty="0" err="1">
              <a:cs typeface="Calibri"/>
            </a:rPr>
            <a:t>nukleotidin</a:t>
          </a:r>
          <a:r>
            <a:rPr lang="fi-FI" dirty="0">
              <a:cs typeface="Calibri"/>
            </a:rPr>
            <a:t> vaihtuminen toiseksi</a:t>
          </a:r>
          <a:endParaRPr lang="fi-FI" dirty="0"/>
        </a:p>
      </dgm:t>
    </dgm:pt>
    <dgm:pt modelId="{32B48EB0-598A-4328-94EF-73CBB25E0888}" type="parTrans" cxnId="{C0D92229-1390-496E-9980-6EDB9FA577A3}">
      <dgm:prSet/>
      <dgm:spPr/>
      <dgm:t>
        <a:bodyPr/>
        <a:lstStyle/>
        <a:p>
          <a:endParaRPr lang="fi-FI"/>
        </a:p>
      </dgm:t>
    </dgm:pt>
    <dgm:pt modelId="{30278DBD-8A69-4EEC-BCE2-1001E39FB012}" type="sibTrans" cxnId="{C0D92229-1390-496E-9980-6EDB9FA577A3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8C911EB8-A54F-4BAF-B513-CC9DB0CBB497}" type="pres">
      <dgm:prSet presAssocID="{0E1C6016-7DEB-4E2F-9797-C18C672777F4}" presName="spacer" presStyleCnt="0"/>
      <dgm:spPr/>
    </dgm:pt>
    <dgm:pt modelId="{F18CEDCA-890F-41D9-8AF0-D9869C886198}" type="pres">
      <dgm:prSet presAssocID="{1883DAAD-B914-46AE-AF12-1368ABAE852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09E6E55D-B5E8-4F25-9C4F-745F44EB53AB}" type="pres">
      <dgm:prSet presAssocID="{FB9A18A9-D930-436F-A855-CB98669791D4}" presName="spacer" presStyleCnt="0"/>
      <dgm:spPr/>
    </dgm:pt>
    <dgm:pt modelId="{A94AB4FA-ECA5-423B-BE75-33C01E030A8D}" type="pres">
      <dgm:prSet presAssocID="{E0BDD789-F9FD-4EF1-978B-33998C1FD035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CEF9D043-EECF-4FC9-B497-185E5096DD76}" type="pres">
      <dgm:prSet presAssocID="{31A728FC-EDDB-46F2-ACB9-66D66DD2A4AA}" presName="spacer" presStyleCnt="0"/>
      <dgm:spPr/>
    </dgm:pt>
    <dgm:pt modelId="{8064DAD9-7BAC-47AA-9058-6C3D00ED6007}" type="pres">
      <dgm:prSet presAssocID="{F7CAB8C7-41E0-4965-A52A-F1A9012378FC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C0D92229-1390-496E-9980-6EDB9FA577A3}" srcId="{2DD9BEDF-B9E2-4ABA-A056-FFA32216D3C8}" destId="{F7CAB8C7-41E0-4965-A52A-F1A9012378FC}" srcOrd="3" destOrd="0" parTransId="{32B48EB0-598A-4328-94EF-73CBB25E0888}" sibTransId="{30278DBD-8A69-4EEC-BCE2-1001E39FB012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57A246CB-D5E0-4B00-A632-765212D71903}" type="presOf" srcId="{F7CAB8C7-41E0-4965-A52A-F1A9012378FC}" destId="{8064DAD9-7BAC-47AA-9058-6C3D00ED6007}" srcOrd="0" destOrd="0" presId="urn:microsoft.com/office/officeart/2005/8/layout/vList2"/>
    <dgm:cxn modelId="{CB772ECB-BC5A-4ACA-846A-ED5E25BFC635}" srcId="{2DD9BEDF-B9E2-4ABA-A056-FFA32216D3C8}" destId="{1883DAAD-B914-46AE-AF12-1368ABAE852A}" srcOrd="1" destOrd="0" parTransId="{E6EF78C5-C92D-489D-86F0-D92A96D5E1E6}" sibTransId="{FB9A18A9-D930-436F-A855-CB98669791D4}"/>
    <dgm:cxn modelId="{68ABC8CD-E061-43C8-AC35-4BFD52DEF372}" type="presOf" srcId="{1883DAAD-B914-46AE-AF12-1368ABAE852A}" destId="{F18CEDCA-890F-41D9-8AF0-D9869C886198}" srcOrd="0" destOrd="0" presId="urn:microsoft.com/office/officeart/2005/8/layout/vList2"/>
    <dgm:cxn modelId="{D2653E0F-8FCD-4107-B9B5-0D78E76523D0}" srcId="{2DD9BEDF-B9E2-4ABA-A056-FFA32216D3C8}" destId="{E0BDD789-F9FD-4EF1-978B-33998C1FD035}" srcOrd="2" destOrd="0" parTransId="{D9564D4E-70D2-44A4-BFEF-1D309551C0D1}" sibTransId="{31A728FC-EDDB-46F2-ACB9-66D66DD2A4AA}"/>
    <dgm:cxn modelId="{0D6F1073-0723-4155-B245-7E052F80D8D8}" type="presOf" srcId="{E0BDD789-F9FD-4EF1-978B-33998C1FD035}" destId="{A94AB4FA-ECA5-423B-BE75-33C01E030A8D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D5EEAB7-4530-46A9-BAAF-AABD6ECDFEBC}" type="presParOf" srcId="{2A2F781F-16C1-4D29-B08D-ACB557B90863}" destId="{8C911EB8-A54F-4BAF-B513-CC9DB0CBB497}" srcOrd="1" destOrd="0" presId="urn:microsoft.com/office/officeart/2005/8/layout/vList2"/>
    <dgm:cxn modelId="{491A0A55-D036-4EA6-92A5-AB3C5C511CCE}" type="presParOf" srcId="{2A2F781F-16C1-4D29-B08D-ACB557B90863}" destId="{F18CEDCA-890F-41D9-8AF0-D9869C886198}" srcOrd="2" destOrd="0" presId="urn:microsoft.com/office/officeart/2005/8/layout/vList2"/>
    <dgm:cxn modelId="{09D71332-27C3-480E-AD35-F7A207131498}" type="presParOf" srcId="{2A2F781F-16C1-4D29-B08D-ACB557B90863}" destId="{09E6E55D-B5E8-4F25-9C4F-745F44EB53AB}" srcOrd="3" destOrd="0" presId="urn:microsoft.com/office/officeart/2005/8/layout/vList2"/>
    <dgm:cxn modelId="{3E93BB0F-232A-4EB1-94EE-504CBF63AA5D}" type="presParOf" srcId="{2A2F781F-16C1-4D29-B08D-ACB557B90863}" destId="{A94AB4FA-ECA5-423B-BE75-33C01E030A8D}" srcOrd="4" destOrd="0" presId="urn:microsoft.com/office/officeart/2005/8/layout/vList2"/>
    <dgm:cxn modelId="{681F506A-20FC-45EF-A950-437EA4980A87}" type="presParOf" srcId="{2A2F781F-16C1-4D29-B08D-ACB557B90863}" destId="{CEF9D043-EECF-4FC9-B497-185E5096DD76}" srcOrd="5" destOrd="0" presId="urn:microsoft.com/office/officeart/2005/8/layout/vList2"/>
    <dgm:cxn modelId="{BC86AC88-75DB-4069-A76A-904E044013C6}" type="presParOf" srcId="{2A2F781F-16C1-4D29-B08D-ACB557B90863}" destId="{8064DAD9-7BAC-47AA-9058-6C3D00ED6007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05063B7-85D1-441D-87C6-864638207FCC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C353A9-2E9A-4B42-B9DF-3904A72B6A0E}">
      <dgm:prSet/>
      <dgm:spPr>
        <a:solidFill>
          <a:srgbClr val="EC008C"/>
        </a:solidFill>
      </dgm:spPr>
      <dgm:t>
        <a:bodyPr/>
        <a:lstStyle/>
        <a:p>
          <a:r>
            <a:rPr lang="fi-FI" dirty="0"/>
            <a:t>Hormonit ja kasvutekijät säätelevät solunjakautumista</a:t>
          </a:r>
          <a:endParaRPr lang="en-US" dirty="0"/>
        </a:p>
      </dgm:t>
    </dgm:pt>
    <dgm:pt modelId="{C30C19A1-0B86-4B48-8CD1-BC251B538350}" type="parTrans" cxnId="{E893A836-17D9-42C9-9647-9C13C0169F53}">
      <dgm:prSet/>
      <dgm:spPr/>
      <dgm:t>
        <a:bodyPr/>
        <a:lstStyle/>
        <a:p>
          <a:endParaRPr lang="en-US"/>
        </a:p>
      </dgm:t>
    </dgm:pt>
    <dgm:pt modelId="{34A83047-F862-4DFB-A54B-26CD2997000F}" type="sibTrans" cxnId="{E893A836-17D9-42C9-9647-9C13C0169F53}">
      <dgm:prSet/>
      <dgm:spPr/>
      <dgm:t>
        <a:bodyPr/>
        <a:lstStyle/>
        <a:p>
          <a:endParaRPr lang="en-US"/>
        </a:p>
      </dgm:t>
    </dgm:pt>
    <dgm:pt modelId="{909AA532-506D-4606-B4AA-A6C6B568EE38}">
      <dgm:prSet/>
      <dgm:spPr>
        <a:solidFill>
          <a:srgbClr val="F06AA7"/>
        </a:solidFill>
      </dgm:spPr>
      <dgm:t>
        <a:bodyPr/>
        <a:lstStyle/>
        <a:p>
          <a:r>
            <a:rPr lang="fi-FI" dirty="0"/>
            <a:t>Geenit vaikuttavat solunjakautumisen vaiheiden etenemiseen entsyymien avulla</a:t>
          </a:r>
        </a:p>
      </dgm:t>
    </dgm:pt>
    <dgm:pt modelId="{3752F3AD-DF89-4911-B284-6E754B9C35DA}" type="sibTrans" cxnId="{DEB986A8-F8B3-439D-8AE3-630409919F5A}">
      <dgm:prSet/>
      <dgm:spPr/>
      <dgm:t>
        <a:bodyPr/>
        <a:lstStyle/>
        <a:p>
          <a:endParaRPr lang="fi-FI"/>
        </a:p>
      </dgm:t>
    </dgm:pt>
    <dgm:pt modelId="{5F4B5E74-23F8-4B20-8ED4-AD7FD530DA6E}" type="parTrans" cxnId="{DEB986A8-F8B3-439D-8AE3-630409919F5A}">
      <dgm:prSet/>
      <dgm:spPr/>
      <dgm:t>
        <a:bodyPr/>
        <a:lstStyle/>
        <a:p>
          <a:endParaRPr lang="fi-FI"/>
        </a:p>
      </dgm:t>
    </dgm:pt>
    <dgm:pt modelId="{6ED1CE75-6F6E-442C-BBA5-2F248E55150A}" type="pres">
      <dgm:prSet presAssocID="{005063B7-85D1-441D-87C6-864638207FC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77996A2A-358E-45DB-8463-BF6520387FA2}" type="pres">
      <dgm:prSet presAssocID="{7BC353A9-2E9A-4B42-B9DF-3904A72B6A0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F76584DC-632F-4601-BAB7-47E087647AB6}" type="pres">
      <dgm:prSet presAssocID="{34A83047-F862-4DFB-A54B-26CD2997000F}" presName="spacer" presStyleCnt="0"/>
      <dgm:spPr/>
    </dgm:pt>
    <dgm:pt modelId="{88D26E1A-132F-4929-B661-4F1FCDE43EA0}" type="pres">
      <dgm:prSet presAssocID="{909AA532-506D-4606-B4AA-A6C6B568EE38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EFDF4FC4-FC84-44B2-95B7-0506974B85B8}" type="presOf" srcId="{909AA532-506D-4606-B4AA-A6C6B568EE38}" destId="{88D26E1A-132F-4929-B661-4F1FCDE43EA0}" srcOrd="0" destOrd="0" presId="urn:microsoft.com/office/officeart/2005/8/layout/vList2"/>
    <dgm:cxn modelId="{D593EF32-16C0-4C29-BBDD-855BE66907E1}" type="presOf" srcId="{7BC353A9-2E9A-4B42-B9DF-3904A72B6A0E}" destId="{77996A2A-358E-45DB-8463-BF6520387FA2}" srcOrd="0" destOrd="0" presId="urn:microsoft.com/office/officeart/2005/8/layout/vList2"/>
    <dgm:cxn modelId="{DEB986A8-F8B3-439D-8AE3-630409919F5A}" srcId="{005063B7-85D1-441D-87C6-864638207FCC}" destId="{909AA532-506D-4606-B4AA-A6C6B568EE38}" srcOrd="1" destOrd="0" parTransId="{5F4B5E74-23F8-4B20-8ED4-AD7FD530DA6E}" sibTransId="{3752F3AD-DF89-4911-B284-6E754B9C35DA}"/>
    <dgm:cxn modelId="{CE0EDE04-1D25-4853-8A89-75770F9298E3}" type="presOf" srcId="{005063B7-85D1-441D-87C6-864638207FCC}" destId="{6ED1CE75-6F6E-442C-BBA5-2F248E55150A}" srcOrd="0" destOrd="0" presId="urn:microsoft.com/office/officeart/2005/8/layout/vList2"/>
    <dgm:cxn modelId="{E893A836-17D9-42C9-9647-9C13C0169F53}" srcId="{005063B7-85D1-441D-87C6-864638207FCC}" destId="{7BC353A9-2E9A-4B42-B9DF-3904A72B6A0E}" srcOrd="0" destOrd="0" parTransId="{C30C19A1-0B86-4B48-8CD1-BC251B538350}" sibTransId="{34A83047-F862-4DFB-A54B-26CD2997000F}"/>
    <dgm:cxn modelId="{0FEEED21-8C3B-4EF5-98CF-A07DB74B9BFF}" type="presParOf" srcId="{6ED1CE75-6F6E-442C-BBA5-2F248E55150A}" destId="{77996A2A-358E-45DB-8463-BF6520387FA2}" srcOrd="0" destOrd="0" presId="urn:microsoft.com/office/officeart/2005/8/layout/vList2"/>
    <dgm:cxn modelId="{61055F97-99B0-4E26-83B2-AA46215F8C1A}" type="presParOf" srcId="{6ED1CE75-6F6E-442C-BBA5-2F248E55150A}" destId="{F76584DC-632F-4601-BAB7-47E087647AB6}" srcOrd="1" destOrd="0" presId="urn:microsoft.com/office/officeart/2005/8/layout/vList2"/>
    <dgm:cxn modelId="{B7984BAE-E32E-41C2-A374-A09035B59648}" type="presParOf" srcId="{6ED1CE75-6F6E-442C-BBA5-2F248E55150A}" destId="{88D26E1A-132F-4929-B661-4F1FCDE43EA0}" srcOrd="2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DD9BEDF-B9E2-4ABA-A056-FFA32216D3C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DB40630-942D-4475-833B-DC48C1B2AEF9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ea typeface="+mn-lt"/>
              <a:cs typeface="+mn-lt"/>
            </a:rPr>
            <a:t>Kantasolut ovat soluja, jotka kykenevät jakautumaan ja erilaistumaan miksi tahansa elimistön soluksi</a:t>
          </a:r>
          <a:endParaRPr lang="fi-FI" dirty="0"/>
        </a:p>
      </dgm:t>
    </dgm:pt>
    <dgm:pt modelId="{EB145E02-B538-4AA7-871E-FA081BB24459}" type="parTrans" cxnId="{23C85598-1ECE-4744-A81F-1D8281EE6A25}">
      <dgm:prSet/>
      <dgm:spPr/>
      <dgm:t>
        <a:bodyPr/>
        <a:lstStyle/>
        <a:p>
          <a:endParaRPr lang="fi-FI"/>
        </a:p>
      </dgm:t>
    </dgm:pt>
    <dgm:pt modelId="{0E1C6016-7DEB-4E2F-9797-C18C672777F4}" type="sibTrans" cxnId="{23C85598-1ECE-4744-A81F-1D8281EE6A25}">
      <dgm:prSet/>
      <dgm:spPr/>
      <dgm:t>
        <a:bodyPr/>
        <a:lstStyle/>
        <a:p>
          <a:endParaRPr lang="fi-FI"/>
        </a:p>
      </dgm:t>
    </dgm:pt>
    <dgm:pt modelId="{1883DAAD-B914-46AE-AF12-1368ABAE852A}">
      <dgm:prSet/>
      <dgm:spPr>
        <a:solidFill>
          <a:srgbClr val="EC008C"/>
        </a:solidFill>
      </dgm:spPr>
      <dgm:t>
        <a:bodyPr/>
        <a:lstStyle/>
        <a:p>
          <a:pPr marR="0" eaLnBrk="1" fontAlgn="auto" latinLnBrk="0" hangingPunct="1">
            <a:buClrTx/>
            <a:buSzTx/>
            <a:buFontTx/>
            <a:buNone/>
            <a:tabLst/>
            <a:defRPr/>
          </a:pPr>
          <a:r>
            <a:rPr lang="fi-FI" dirty="0">
              <a:cs typeface="Calibri"/>
            </a:rPr>
            <a:t>Solujen jakautumisten määrä vaihtelee kudoksen, solukon tai eliölajin mukaan</a:t>
          </a:r>
          <a:endParaRPr lang="fi-FI" dirty="0"/>
        </a:p>
      </dgm:t>
    </dgm:pt>
    <dgm:pt modelId="{E6EF78C5-C92D-489D-86F0-D92A96D5E1E6}" type="parTrans" cxnId="{CB772ECB-BC5A-4ACA-846A-ED5E25BFC635}">
      <dgm:prSet/>
      <dgm:spPr/>
      <dgm:t>
        <a:bodyPr/>
        <a:lstStyle/>
        <a:p>
          <a:endParaRPr lang="fi-FI"/>
        </a:p>
      </dgm:t>
    </dgm:pt>
    <dgm:pt modelId="{FB9A18A9-D930-436F-A855-CB98669791D4}" type="sibTrans" cxnId="{CB772ECB-BC5A-4ACA-846A-ED5E25BFC635}">
      <dgm:prSet/>
      <dgm:spPr/>
      <dgm:t>
        <a:bodyPr/>
        <a:lstStyle/>
        <a:p>
          <a:endParaRPr lang="fi-FI"/>
        </a:p>
      </dgm:t>
    </dgm:pt>
    <dgm:pt modelId="{E0BDD789-F9FD-4EF1-978B-33998C1FD035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Jakautumiskertoja on rajallinen määrä</a:t>
          </a:r>
          <a:endParaRPr lang="fi-FI" dirty="0"/>
        </a:p>
      </dgm:t>
    </dgm:pt>
    <dgm:pt modelId="{D9564D4E-70D2-44A4-BFEF-1D309551C0D1}" type="parTrans" cxnId="{D2653E0F-8FCD-4107-B9B5-0D78E76523D0}">
      <dgm:prSet/>
      <dgm:spPr/>
      <dgm:t>
        <a:bodyPr/>
        <a:lstStyle/>
        <a:p>
          <a:endParaRPr lang="fi-FI"/>
        </a:p>
      </dgm:t>
    </dgm:pt>
    <dgm:pt modelId="{31A728FC-EDDB-46F2-ACB9-66D66DD2A4AA}" type="sibTrans" cxnId="{D2653E0F-8FCD-4107-B9B5-0D78E76523D0}">
      <dgm:prSet/>
      <dgm:spPr/>
      <dgm:t>
        <a:bodyPr/>
        <a:lstStyle/>
        <a:p>
          <a:endParaRPr lang="fi-FI"/>
        </a:p>
      </dgm:t>
    </dgm:pt>
    <dgm:pt modelId="{F7CAB8C7-41E0-4965-A52A-F1A9012378FC}">
      <dgm:prSet/>
      <dgm:spPr>
        <a:solidFill>
          <a:srgbClr val="EC008C"/>
        </a:solidFill>
      </dgm:spPr>
      <dgm:t>
        <a:bodyPr/>
        <a:lstStyle/>
        <a:p>
          <a:r>
            <a:rPr lang="fi-FI" dirty="0">
              <a:cs typeface="Calibri"/>
            </a:rPr>
            <a:t>Kromosomin päässä on geenitön DNA-jakso, </a:t>
          </a:r>
          <a:r>
            <a:rPr lang="fi-FI" dirty="0" err="1">
              <a:cs typeface="Calibri"/>
            </a:rPr>
            <a:t>telomeeri</a:t>
          </a:r>
          <a:endParaRPr lang="fi-FI" dirty="0"/>
        </a:p>
      </dgm:t>
    </dgm:pt>
    <dgm:pt modelId="{32B48EB0-598A-4328-94EF-73CBB25E0888}" type="parTrans" cxnId="{C0D92229-1390-496E-9980-6EDB9FA577A3}">
      <dgm:prSet/>
      <dgm:spPr/>
      <dgm:t>
        <a:bodyPr/>
        <a:lstStyle/>
        <a:p>
          <a:endParaRPr lang="fi-FI"/>
        </a:p>
      </dgm:t>
    </dgm:pt>
    <dgm:pt modelId="{30278DBD-8A69-4EEC-BCE2-1001E39FB012}" type="sibTrans" cxnId="{C0D92229-1390-496E-9980-6EDB9FA577A3}">
      <dgm:prSet/>
      <dgm:spPr/>
      <dgm:t>
        <a:bodyPr/>
        <a:lstStyle/>
        <a:p>
          <a:endParaRPr lang="fi-FI"/>
        </a:p>
      </dgm:t>
    </dgm:pt>
    <dgm:pt modelId="{ECE44994-03E7-4C40-B625-BB02740DA5FA}">
      <dgm:prSet custT="1"/>
      <dgm:spPr>
        <a:noFill/>
      </dgm:spPr>
      <dgm:t>
        <a:bodyPr/>
        <a:lstStyle/>
        <a:p>
          <a:r>
            <a:rPr lang="fi-FI" sz="1800" dirty="0">
              <a:cs typeface="Calibri"/>
            </a:rPr>
            <a:t>Jokaisessa solunjakautumisessa </a:t>
          </a:r>
          <a:r>
            <a:rPr lang="fi-FI" sz="1800" dirty="0" err="1">
              <a:cs typeface="Calibri"/>
            </a:rPr>
            <a:t>telomeerit</a:t>
          </a:r>
          <a:r>
            <a:rPr lang="fi-FI" sz="1800" dirty="0">
              <a:cs typeface="Calibri"/>
            </a:rPr>
            <a:t> lyhenevät</a:t>
          </a:r>
          <a:endParaRPr lang="fi-FI" sz="1800" dirty="0"/>
        </a:p>
      </dgm:t>
    </dgm:pt>
    <dgm:pt modelId="{C89624A1-3FFE-4AD1-AA99-D1103CC76F8D}" type="parTrans" cxnId="{E90317B5-9A1E-4F29-8EEA-58983207FB82}">
      <dgm:prSet/>
      <dgm:spPr/>
      <dgm:t>
        <a:bodyPr/>
        <a:lstStyle/>
        <a:p>
          <a:endParaRPr lang="fi-FI"/>
        </a:p>
      </dgm:t>
    </dgm:pt>
    <dgm:pt modelId="{0C10E52B-D13F-4494-B75C-A37860A43E0A}" type="sibTrans" cxnId="{E90317B5-9A1E-4F29-8EEA-58983207FB82}">
      <dgm:prSet/>
      <dgm:spPr/>
      <dgm:t>
        <a:bodyPr/>
        <a:lstStyle/>
        <a:p>
          <a:endParaRPr lang="fi-FI"/>
        </a:p>
      </dgm:t>
    </dgm:pt>
    <dgm:pt modelId="{C2466CEC-AF92-449F-B9D1-AD942A44F486}">
      <dgm:prSet custT="1"/>
      <dgm:spPr>
        <a:noFill/>
      </dgm:spPr>
      <dgm:t>
        <a:bodyPr/>
        <a:lstStyle/>
        <a:p>
          <a:r>
            <a:rPr lang="fi-FI" sz="1800" dirty="0">
              <a:cs typeface="Calibri"/>
            </a:rPr>
            <a:t>Kantasoluissa ja syöpäsoluissa </a:t>
          </a:r>
          <a:r>
            <a:rPr lang="fi-FI" sz="1800" dirty="0" err="1">
              <a:cs typeface="Calibri"/>
            </a:rPr>
            <a:t>telomeraasientsyymi</a:t>
          </a:r>
          <a:r>
            <a:rPr lang="fi-FI" sz="1800" dirty="0">
              <a:cs typeface="Calibri"/>
            </a:rPr>
            <a:t> korjaa lyhentyneet kromosomien päät </a:t>
          </a:r>
          <a:endParaRPr lang="fi-FI" sz="1800" dirty="0"/>
        </a:p>
      </dgm:t>
    </dgm:pt>
    <dgm:pt modelId="{8F35B0B9-D926-4AAF-B532-122FD4F0522C}" type="parTrans" cxnId="{281896A4-C572-4265-A089-7ED3A08A762D}">
      <dgm:prSet/>
      <dgm:spPr/>
      <dgm:t>
        <a:bodyPr/>
        <a:lstStyle/>
        <a:p>
          <a:endParaRPr lang="fi-FI"/>
        </a:p>
      </dgm:t>
    </dgm:pt>
    <dgm:pt modelId="{9F80C3BE-CFF6-426C-95B5-D8CD06D00E5C}" type="sibTrans" cxnId="{281896A4-C572-4265-A089-7ED3A08A762D}">
      <dgm:prSet/>
      <dgm:spPr/>
      <dgm:t>
        <a:bodyPr/>
        <a:lstStyle/>
        <a:p>
          <a:endParaRPr lang="fi-FI"/>
        </a:p>
      </dgm:t>
    </dgm:pt>
    <dgm:pt modelId="{2A2F781F-16C1-4D29-B08D-ACB557B90863}" type="pres">
      <dgm:prSet presAssocID="{2DD9BEDF-B9E2-4ABA-A056-FFA32216D3C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i-FI"/>
        </a:p>
      </dgm:t>
    </dgm:pt>
    <dgm:pt modelId="{A033DC3D-C63F-43D1-8859-07FC97577F71}" type="pres">
      <dgm:prSet presAssocID="{FDB40630-942D-4475-833B-DC48C1B2AEF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8C911EB8-A54F-4BAF-B513-CC9DB0CBB497}" type="pres">
      <dgm:prSet presAssocID="{0E1C6016-7DEB-4E2F-9797-C18C672777F4}" presName="spacer" presStyleCnt="0"/>
      <dgm:spPr/>
    </dgm:pt>
    <dgm:pt modelId="{F18CEDCA-890F-41D9-8AF0-D9869C886198}" type="pres">
      <dgm:prSet presAssocID="{1883DAAD-B914-46AE-AF12-1368ABAE852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09E6E55D-B5E8-4F25-9C4F-745F44EB53AB}" type="pres">
      <dgm:prSet presAssocID="{FB9A18A9-D930-436F-A855-CB98669791D4}" presName="spacer" presStyleCnt="0"/>
      <dgm:spPr/>
    </dgm:pt>
    <dgm:pt modelId="{A94AB4FA-ECA5-423B-BE75-33C01E030A8D}" type="pres">
      <dgm:prSet presAssocID="{E0BDD789-F9FD-4EF1-978B-33998C1FD035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CEF9D043-EECF-4FC9-B497-185E5096DD76}" type="pres">
      <dgm:prSet presAssocID="{31A728FC-EDDB-46F2-ACB9-66D66DD2A4AA}" presName="spacer" presStyleCnt="0"/>
      <dgm:spPr/>
    </dgm:pt>
    <dgm:pt modelId="{8064DAD9-7BAC-47AA-9058-6C3D00ED6007}" type="pres">
      <dgm:prSet presAssocID="{F7CAB8C7-41E0-4965-A52A-F1A9012378FC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i-FI"/>
        </a:p>
      </dgm:t>
    </dgm:pt>
    <dgm:pt modelId="{28704CC2-41A7-4346-ADCB-2AC16D860EE2}" type="pres">
      <dgm:prSet presAssocID="{F7CAB8C7-41E0-4965-A52A-F1A9012378FC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fi-FI"/>
        </a:p>
      </dgm:t>
    </dgm:pt>
  </dgm:ptLst>
  <dgm:cxnLst>
    <dgm:cxn modelId="{68ABC8CD-E061-43C8-AC35-4BFD52DEF372}" type="presOf" srcId="{1883DAAD-B914-46AE-AF12-1368ABAE852A}" destId="{F18CEDCA-890F-41D9-8AF0-D9869C886198}" srcOrd="0" destOrd="0" presId="urn:microsoft.com/office/officeart/2005/8/layout/vList2"/>
    <dgm:cxn modelId="{E90317B5-9A1E-4F29-8EEA-58983207FB82}" srcId="{F7CAB8C7-41E0-4965-A52A-F1A9012378FC}" destId="{ECE44994-03E7-4C40-B625-BB02740DA5FA}" srcOrd="0" destOrd="0" parTransId="{C89624A1-3FFE-4AD1-AA99-D1103CC76F8D}" sibTransId="{0C10E52B-D13F-4494-B75C-A37860A43E0A}"/>
    <dgm:cxn modelId="{80B36DC0-A1CA-42E5-B78A-79BFF3C79841}" type="presOf" srcId="{2DD9BEDF-B9E2-4ABA-A056-FFA32216D3C8}" destId="{2A2F781F-16C1-4D29-B08D-ACB557B90863}" srcOrd="0" destOrd="0" presId="urn:microsoft.com/office/officeart/2005/8/layout/vList2"/>
    <dgm:cxn modelId="{57A246CB-D5E0-4B00-A632-765212D71903}" type="presOf" srcId="{F7CAB8C7-41E0-4965-A52A-F1A9012378FC}" destId="{8064DAD9-7BAC-47AA-9058-6C3D00ED6007}" srcOrd="0" destOrd="0" presId="urn:microsoft.com/office/officeart/2005/8/layout/vList2"/>
    <dgm:cxn modelId="{281896A4-C572-4265-A089-7ED3A08A762D}" srcId="{F7CAB8C7-41E0-4965-A52A-F1A9012378FC}" destId="{C2466CEC-AF92-449F-B9D1-AD942A44F486}" srcOrd="1" destOrd="0" parTransId="{8F35B0B9-D926-4AAF-B532-122FD4F0522C}" sibTransId="{9F80C3BE-CFF6-426C-95B5-D8CD06D00E5C}"/>
    <dgm:cxn modelId="{23C85598-1ECE-4744-A81F-1D8281EE6A25}" srcId="{2DD9BEDF-B9E2-4ABA-A056-FFA32216D3C8}" destId="{FDB40630-942D-4475-833B-DC48C1B2AEF9}" srcOrd="0" destOrd="0" parTransId="{EB145E02-B538-4AA7-871E-FA081BB24459}" sibTransId="{0E1C6016-7DEB-4E2F-9797-C18C672777F4}"/>
    <dgm:cxn modelId="{D2653E0F-8FCD-4107-B9B5-0D78E76523D0}" srcId="{2DD9BEDF-B9E2-4ABA-A056-FFA32216D3C8}" destId="{E0BDD789-F9FD-4EF1-978B-33998C1FD035}" srcOrd="2" destOrd="0" parTransId="{D9564D4E-70D2-44A4-BFEF-1D309551C0D1}" sibTransId="{31A728FC-EDDB-46F2-ACB9-66D66DD2A4AA}"/>
    <dgm:cxn modelId="{C0D92229-1390-496E-9980-6EDB9FA577A3}" srcId="{2DD9BEDF-B9E2-4ABA-A056-FFA32216D3C8}" destId="{F7CAB8C7-41E0-4965-A52A-F1A9012378FC}" srcOrd="3" destOrd="0" parTransId="{32B48EB0-598A-4328-94EF-73CBB25E0888}" sibTransId="{30278DBD-8A69-4EEC-BCE2-1001E39FB012}"/>
    <dgm:cxn modelId="{0D6F1073-0723-4155-B245-7E052F80D8D8}" type="presOf" srcId="{E0BDD789-F9FD-4EF1-978B-33998C1FD035}" destId="{A94AB4FA-ECA5-423B-BE75-33C01E030A8D}" srcOrd="0" destOrd="0" presId="urn:microsoft.com/office/officeart/2005/8/layout/vList2"/>
    <dgm:cxn modelId="{24007FEB-E208-4440-8B47-1010272FCF96}" type="presOf" srcId="{C2466CEC-AF92-449F-B9D1-AD942A44F486}" destId="{28704CC2-41A7-4346-ADCB-2AC16D860EE2}" srcOrd="0" destOrd="1" presId="urn:microsoft.com/office/officeart/2005/8/layout/vList2"/>
    <dgm:cxn modelId="{CB772ECB-BC5A-4ACA-846A-ED5E25BFC635}" srcId="{2DD9BEDF-B9E2-4ABA-A056-FFA32216D3C8}" destId="{1883DAAD-B914-46AE-AF12-1368ABAE852A}" srcOrd="1" destOrd="0" parTransId="{E6EF78C5-C92D-489D-86F0-D92A96D5E1E6}" sibTransId="{FB9A18A9-D930-436F-A855-CB98669791D4}"/>
    <dgm:cxn modelId="{90BED6AB-2622-4A47-8DD0-AEDA6876D029}" type="presOf" srcId="{FDB40630-942D-4475-833B-DC48C1B2AEF9}" destId="{A033DC3D-C63F-43D1-8859-07FC97577F71}" srcOrd="0" destOrd="0" presId="urn:microsoft.com/office/officeart/2005/8/layout/vList2"/>
    <dgm:cxn modelId="{6D9CE28C-B89D-404E-97BF-FA4FD4C55B21}" type="presOf" srcId="{ECE44994-03E7-4C40-B625-BB02740DA5FA}" destId="{28704CC2-41A7-4346-ADCB-2AC16D860EE2}" srcOrd="0" destOrd="0" presId="urn:microsoft.com/office/officeart/2005/8/layout/vList2"/>
    <dgm:cxn modelId="{D71AE3A6-9161-4990-8BB5-0D4ADB2D81C5}" type="presParOf" srcId="{2A2F781F-16C1-4D29-B08D-ACB557B90863}" destId="{A033DC3D-C63F-43D1-8859-07FC97577F71}" srcOrd="0" destOrd="0" presId="urn:microsoft.com/office/officeart/2005/8/layout/vList2"/>
    <dgm:cxn modelId="{3D5EEAB7-4530-46A9-BAAF-AABD6ECDFEBC}" type="presParOf" srcId="{2A2F781F-16C1-4D29-B08D-ACB557B90863}" destId="{8C911EB8-A54F-4BAF-B513-CC9DB0CBB497}" srcOrd="1" destOrd="0" presId="urn:microsoft.com/office/officeart/2005/8/layout/vList2"/>
    <dgm:cxn modelId="{491A0A55-D036-4EA6-92A5-AB3C5C511CCE}" type="presParOf" srcId="{2A2F781F-16C1-4D29-B08D-ACB557B90863}" destId="{F18CEDCA-890F-41D9-8AF0-D9869C886198}" srcOrd="2" destOrd="0" presId="urn:microsoft.com/office/officeart/2005/8/layout/vList2"/>
    <dgm:cxn modelId="{09D71332-27C3-480E-AD35-F7A207131498}" type="presParOf" srcId="{2A2F781F-16C1-4D29-B08D-ACB557B90863}" destId="{09E6E55D-B5E8-4F25-9C4F-745F44EB53AB}" srcOrd="3" destOrd="0" presId="urn:microsoft.com/office/officeart/2005/8/layout/vList2"/>
    <dgm:cxn modelId="{3E93BB0F-232A-4EB1-94EE-504CBF63AA5D}" type="presParOf" srcId="{2A2F781F-16C1-4D29-B08D-ACB557B90863}" destId="{A94AB4FA-ECA5-423B-BE75-33C01E030A8D}" srcOrd="4" destOrd="0" presId="urn:microsoft.com/office/officeart/2005/8/layout/vList2"/>
    <dgm:cxn modelId="{681F506A-20FC-45EF-A950-437EA4980A87}" type="presParOf" srcId="{2A2F781F-16C1-4D29-B08D-ACB557B90863}" destId="{CEF9D043-EECF-4FC9-B497-185E5096DD76}" srcOrd="5" destOrd="0" presId="urn:microsoft.com/office/officeart/2005/8/layout/vList2"/>
    <dgm:cxn modelId="{BC86AC88-75DB-4069-A76A-904E044013C6}" type="presParOf" srcId="{2A2F781F-16C1-4D29-B08D-ACB557B90863}" destId="{8064DAD9-7BAC-47AA-9058-6C3D00ED6007}" srcOrd="6" destOrd="0" presId="urn:microsoft.com/office/officeart/2005/8/layout/vList2"/>
    <dgm:cxn modelId="{9B5D2D61-A87D-4680-AB1B-42ACE2D347F1}" type="presParOf" srcId="{2A2F781F-16C1-4D29-B08D-ACB557B90863}" destId="{28704CC2-41A7-4346-ADCB-2AC16D860EE2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3DC3D-C63F-43D1-8859-07FC97577F71}">
      <dsp:nvSpPr>
        <dsp:cNvPr id="0" name=""/>
        <dsp:cNvSpPr/>
      </dsp:nvSpPr>
      <dsp:spPr>
        <a:xfrm>
          <a:off x="0" y="19986"/>
          <a:ext cx="10515600" cy="823680"/>
        </a:xfrm>
        <a:prstGeom prst="roundRect">
          <a:avLst/>
        </a:prstGeom>
        <a:solidFill>
          <a:srgbClr val="EC008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2800" kern="1200" dirty="0"/>
            <a:t>Jakautuvat solut ovat yksi elämän tunnuspiirteistä</a:t>
          </a:r>
        </a:p>
      </dsp:txBody>
      <dsp:txXfrm>
        <a:off x="40209" y="60195"/>
        <a:ext cx="10435182" cy="743262"/>
      </dsp:txXfrm>
    </dsp:sp>
    <dsp:sp modelId="{DCC5FB86-1936-400D-B1D5-1AACF01901D7}">
      <dsp:nvSpPr>
        <dsp:cNvPr id="0" name=""/>
        <dsp:cNvSpPr/>
      </dsp:nvSpPr>
      <dsp:spPr>
        <a:xfrm>
          <a:off x="0" y="970386"/>
          <a:ext cx="10515600" cy="823680"/>
        </a:xfrm>
        <a:prstGeom prst="roundRect">
          <a:avLst/>
        </a:prstGeom>
        <a:solidFill>
          <a:srgbClr val="F27C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i-FI" sz="2800" kern="1200" dirty="0"/>
            <a:t>Solujen jakautuessa</a:t>
          </a:r>
        </a:p>
      </dsp:txBody>
      <dsp:txXfrm>
        <a:off x="40209" y="1010595"/>
        <a:ext cx="10435182" cy="743262"/>
      </dsp:txXfrm>
    </dsp:sp>
    <dsp:sp modelId="{85A5D33E-643F-4A77-B677-36661B6DEB83}">
      <dsp:nvSpPr>
        <dsp:cNvPr id="0" name=""/>
        <dsp:cNvSpPr/>
      </dsp:nvSpPr>
      <dsp:spPr>
        <a:xfrm>
          <a:off x="0" y="1794066"/>
          <a:ext cx="10515600" cy="12295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30480" rIns="170688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400" kern="1200" dirty="0"/>
            <a:t>yksilö kasvaa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400" kern="1200" dirty="0"/>
            <a:t>vanhat solut korvautuvat uusilla</a:t>
          </a:r>
          <a:endParaRPr lang="fi-FI" sz="2400" kern="1200" dirty="0">
            <a:cs typeface="Calibri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fi-FI" sz="2400" kern="1200" dirty="0"/>
            <a:t>syntyy emosolun kaltainen tytärsolu</a:t>
          </a:r>
        </a:p>
      </dsp:txBody>
      <dsp:txXfrm>
        <a:off x="0" y="1794066"/>
        <a:ext cx="10515600" cy="12295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FB6CB-8672-6C41-9AE6-36381D05995E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884B2-4647-6F4B-B58A-4FBCFBA433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3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645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677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003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8785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8206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1960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0250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6484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786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5934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9899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xmlns="" id="{C41D900F-7DAD-4BA4-91FC-1E405899BD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2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xmlns="" id="{C41D900F-7DAD-4BA4-91FC-1E405899B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CE5A8-2DF2-0441-AD7A-3A45C0606D64}" type="datetimeFigureOut">
              <a:rPr lang="fi-FI" smtClean="0"/>
              <a:t>4.4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64BC88-0981-1B45-8106-B85C2EFEC6E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337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1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5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6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7.xml"/><Relationship Id="rId12" Type="http://schemas.openxmlformats.org/officeDocument/2006/relationships/image" Target="../media/image9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7.xml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diagramDrawing" Target="../diagrams/drawing7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30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779613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solidFill>
                  <a:srgbClr val="EC008C"/>
                </a:solidFill>
                <a:latin typeface="Myriad Pro Semibold" charset="0"/>
                <a:ea typeface="Myriad Pro Semibold" charset="0"/>
                <a:cs typeface="Myriad Pro Semibold" charset="0"/>
              </a:rPr>
              <a:t>8</a:t>
            </a:r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 Solut lisääntyvät jakautumalla</a:t>
            </a:r>
            <a:endParaRPr lang="fi-FI" sz="3600" dirty="0"/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xmlns="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5334868"/>
              </p:ext>
            </p:extLst>
          </p:nvPr>
        </p:nvGraphicFramePr>
        <p:xfrm>
          <a:off x="838200" y="1700754"/>
          <a:ext cx="10515600" cy="3043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xmlns="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n elämänkierrossa vaihtelevat välivaihe ja jakautumisvaihe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xmlns="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743962" y="1940439"/>
            <a:ext cx="5041997" cy="365729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8613901"/>
              </p:ext>
            </p:extLst>
          </p:nvPr>
        </p:nvGraphicFramePr>
        <p:xfrm>
          <a:off x="862366" y="1940438"/>
          <a:ext cx="4376696" cy="4700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837540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ruutu 9">
            <a:extLst>
              <a:ext uri="{FF2B5EF4-FFF2-40B4-BE49-F238E27FC236}">
                <a16:creationId xmlns:a16="http://schemas.microsoft.com/office/drawing/2014/main" xmlns="" id="{0AA9639B-B7E2-44C5-9CA4-50187E024E5F}"/>
              </a:ext>
            </a:extLst>
          </p:cNvPr>
          <p:cNvSpPr txBox="1"/>
          <p:nvPr/>
        </p:nvSpPr>
        <p:spPr>
          <a:xfrm>
            <a:off x="838200" y="550728"/>
            <a:ext cx="9962213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fi-FI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DNA kahdentuu välivaiheen aikana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xmlns="" id="{9D1B725A-9F7F-4A5F-A8A5-52289C013BB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505928" y="1881567"/>
            <a:ext cx="3227119" cy="2376678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1395164"/>
              </p:ext>
            </p:extLst>
          </p:nvPr>
        </p:nvGraphicFramePr>
        <p:xfrm>
          <a:off x="883218" y="1621269"/>
          <a:ext cx="4376696" cy="4700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xmlns="" id="{EBD2302C-8A72-4F06-B641-0EE02D6068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05928" y="4405159"/>
            <a:ext cx="4129593" cy="1881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821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xmlns="" id="{131BAD53-4E89-4F62-BBB7-26359763ED3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62756DA2-40EB-4C6F-B962-5822FFB54FB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xmlns="" id="{0AA9639B-B7E2-44C5-9CA4-50187E024E5F}"/>
              </a:ext>
            </a:extLst>
          </p:cNvPr>
          <p:cNvSpPr txBox="1"/>
          <p:nvPr/>
        </p:nvSpPr>
        <p:spPr>
          <a:xfrm>
            <a:off x="428887" y="344771"/>
            <a:ext cx="6464302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DNA: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kahdentuminen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xmlns="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5457" y="1440450"/>
            <a:ext cx="6155141" cy="4000841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1807367"/>
              </p:ext>
            </p:extLst>
          </p:nvPr>
        </p:nvGraphicFramePr>
        <p:xfrm>
          <a:off x="322289" y="1940438"/>
          <a:ext cx="4459573" cy="4767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77642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29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DNA: kahdentumisessa tapahtuu virheitä</a:t>
            </a:r>
            <a:endParaRPr lang="fi-FI" sz="3600" dirty="0">
              <a:latin typeface="Myriad Pro Semibold"/>
            </a:endParaRPr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xmlns="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07058906"/>
              </p:ext>
            </p:extLst>
          </p:nvPr>
        </p:nvGraphicFramePr>
        <p:xfrm>
          <a:off x="838200" y="1690688"/>
          <a:ext cx="10515600" cy="3481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83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i 2" hidden="1">
            <a:extLst>
              <a:ext uri="{FF2B5EF4-FFF2-40B4-BE49-F238E27FC236}">
                <a16:creationId xmlns:a16="http://schemas.microsoft.com/office/drawing/2014/main" xmlns="" id="{E23B38B6-C474-4478-B461-DDE3DD760A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15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kti 2" hidden="1">
                        <a:extLst>
                          <a:ext uri="{FF2B5EF4-FFF2-40B4-BE49-F238E27FC236}">
                            <a16:creationId xmlns:a16="http://schemas.microsoft.com/office/drawing/2014/main" xmlns="" id="{E23B38B6-C474-4478-B461-DDE3DD760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fi-FI" sz="3600" dirty="0">
                <a:latin typeface="Myriad Pro Semibold" charset="0"/>
                <a:ea typeface="Myriad Pro Semibold" charset="0"/>
                <a:cs typeface="Myriad Pro Semibold" charset="0"/>
              </a:rPr>
              <a:t>Solujen jakautumista edeltää mitoosi</a:t>
            </a:r>
            <a:endParaRPr lang="fi-FI" sz="3600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xmlns="" id="{8FCC6E92-11BF-44FA-A81B-6B5F5BCC5E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0005" y="1486958"/>
            <a:ext cx="9851990" cy="5371042"/>
          </a:xfrm>
          <a:prstGeom prst="rect">
            <a:avLst/>
          </a:prstGeom>
        </p:spPr>
      </p:pic>
      <p:grpSp>
        <p:nvGrpSpPr>
          <p:cNvPr id="18" name="Ryhmä 17">
            <a:extLst>
              <a:ext uri="{FF2B5EF4-FFF2-40B4-BE49-F238E27FC236}">
                <a16:creationId xmlns:a16="http://schemas.microsoft.com/office/drawing/2014/main" xmlns="" id="{95BCAAE5-5C53-48E6-9FF6-4399AAABD4D1}"/>
              </a:ext>
            </a:extLst>
          </p:cNvPr>
          <p:cNvGrpSpPr/>
          <p:nvPr/>
        </p:nvGrpSpPr>
        <p:grpSpPr>
          <a:xfrm>
            <a:off x="838200" y="3823402"/>
            <a:ext cx="2359014" cy="2216482"/>
            <a:chOff x="0" y="0"/>
            <a:chExt cx="3433871" cy="858178"/>
          </a:xfrm>
        </p:grpSpPr>
        <p:sp>
          <p:nvSpPr>
            <p:cNvPr id="19" name="Suorakulmio: Pyöristetyt kulmat 18">
              <a:extLst>
                <a:ext uri="{FF2B5EF4-FFF2-40B4-BE49-F238E27FC236}">
                  <a16:creationId xmlns:a16="http://schemas.microsoft.com/office/drawing/2014/main" xmlns="" id="{3B5A2344-B829-41B0-9138-10FB1EE5FD99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Suorakulmio: Pyöristetyt kulmat 4">
              <a:extLst>
                <a:ext uri="{FF2B5EF4-FFF2-40B4-BE49-F238E27FC236}">
                  <a16:creationId xmlns:a16="http://schemas.microsoft.com/office/drawing/2014/main" xmlns="" id="{33F42C49-B5C3-48EE-9E77-398558F8C768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Esivaihe</a:t>
              </a:r>
            </a:p>
            <a:p>
              <a:r>
                <a:rPr lang="fi-FI" sz="1400" dirty="0" err="1"/>
                <a:t>Kromatiinirihmat</a:t>
              </a:r>
              <a:r>
                <a:rPr lang="fi-FI" sz="1400" dirty="0"/>
                <a:t> pakkautuvat</a:t>
              </a:r>
              <a:br>
                <a:rPr lang="fi-FI" sz="1400" dirty="0"/>
              </a:br>
              <a:r>
                <a:rPr lang="fi-FI" sz="1400" dirty="0"/>
                <a:t>tiiviiksi kromosomeiksi ja sisar-</a:t>
              </a:r>
              <a:br>
                <a:rPr lang="fi-FI" sz="1400" dirty="0"/>
              </a:br>
              <a:r>
                <a:rPr lang="fi-FI" sz="1400" dirty="0" err="1"/>
                <a:t>kromatidit</a:t>
              </a:r>
              <a:r>
                <a:rPr lang="fi-FI" sz="1400" dirty="0"/>
                <a:t> ovat kiinni toisistaan</a:t>
              </a:r>
              <a:br>
                <a:rPr lang="fi-FI" sz="1400" dirty="0"/>
              </a:br>
              <a:r>
                <a:rPr lang="fi-FI" sz="1400" dirty="0" err="1"/>
                <a:t>sentromeerien</a:t>
              </a:r>
              <a:r>
                <a:rPr lang="fi-FI" sz="1400" dirty="0"/>
                <a:t> kohdalta. Keskus-</a:t>
              </a:r>
              <a:br>
                <a:rPr lang="fi-FI" sz="1400" dirty="0"/>
              </a:br>
              <a:r>
                <a:rPr lang="fi-FI" sz="1400" dirty="0"/>
                <a:t>jyväset kulkevat solun vastakkaisille</a:t>
              </a:r>
              <a:br>
                <a:rPr lang="fi-FI" sz="1400" dirty="0"/>
              </a:br>
              <a:r>
                <a:rPr lang="fi-FI" sz="1400" dirty="0"/>
                <a:t>puolille.</a:t>
              </a:r>
            </a:p>
          </p:txBody>
        </p:sp>
      </p:grpSp>
      <p:grpSp>
        <p:nvGrpSpPr>
          <p:cNvPr id="21" name="Ryhmä 20">
            <a:extLst>
              <a:ext uri="{FF2B5EF4-FFF2-40B4-BE49-F238E27FC236}">
                <a16:creationId xmlns:a16="http://schemas.microsoft.com/office/drawing/2014/main" xmlns="" id="{A537BD05-EE9A-4640-BA4B-0BBF1A5E9A0C}"/>
              </a:ext>
            </a:extLst>
          </p:cNvPr>
          <p:cNvGrpSpPr/>
          <p:nvPr/>
        </p:nvGrpSpPr>
        <p:grpSpPr>
          <a:xfrm>
            <a:off x="3699393" y="1581462"/>
            <a:ext cx="2103620" cy="1224927"/>
            <a:chOff x="0" y="0"/>
            <a:chExt cx="3433871" cy="858178"/>
          </a:xfrm>
        </p:grpSpPr>
        <p:sp>
          <p:nvSpPr>
            <p:cNvPr id="22" name="Suorakulmio: Pyöristetyt kulmat 21">
              <a:extLst>
                <a:ext uri="{FF2B5EF4-FFF2-40B4-BE49-F238E27FC236}">
                  <a16:creationId xmlns:a16="http://schemas.microsoft.com/office/drawing/2014/main" xmlns="" id="{C9B1B633-AD48-4D3C-8CCD-7436A9F439E9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Suorakulmio: Pyöristetyt kulmat 4">
              <a:extLst>
                <a:ext uri="{FF2B5EF4-FFF2-40B4-BE49-F238E27FC236}">
                  <a16:creationId xmlns:a16="http://schemas.microsoft.com/office/drawing/2014/main" xmlns="" id="{36608C9F-4863-45E8-9A76-00693A0368E5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Keskivaihe</a:t>
              </a:r>
            </a:p>
            <a:p>
              <a:r>
                <a:rPr lang="fi-FI" sz="1400" dirty="0"/>
                <a:t>Sukkularihmat kiinnittyvät</a:t>
              </a:r>
              <a:br>
                <a:rPr lang="fi-FI" sz="1400" dirty="0"/>
              </a:br>
              <a:r>
                <a:rPr lang="fi-FI" sz="1400" dirty="0" err="1"/>
                <a:t>sentromeereihin</a:t>
              </a:r>
              <a:r>
                <a:rPr lang="fi-FI" sz="1400" dirty="0"/>
                <a:t> ja vetävät</a:t>
              </a:r>
              <a:br>
                <a:rPr lang="fi-FI" sz="1400" dirty="0"/>
              </a:br>
              <a:r>
                <a:rPr lang="fi-FI" sz="1400" dirty="0"/>
                <a:t>kromosomit keskiosan </a:t>
              </a:r>
              <a:br>
                <a:rPr lang="fi-FI" sz="1400" dirty="0"/>
              </a:br>
              <a:r>
                <a:rPr lang="fi-FI" sz="1400" dirty="0"/>
                <a:t>jakautumistasoon.</a:t>
              </a:r>
            </a:p>
          </p:txBody>
        </p:sp>
      </p:grpSp>
      <p:grpSp>
        <p:nvGrpSpPr>
          <p:cNvPr id="24" name="Ryhmä 23">
            <a:extLst>
              <a:ext uri="{FF2B5EF4-FFF2-40B4-BE49-F238E27FC236}">
                <a16:creationId xmlns:a16="http://schemas.microsoft.com/office/drawing/2014/main" xmlns="" id="{7D86F2AA-F73B-44E6-AC9B-80FA049005C0}"/>
              </a:ext>
            </a:extLst>
          </p:cNvPr>
          <p:cNvGrpSpPr/>
          <p:nvPr/>
        </p:nvGrpSpPr>
        <p:grpSpPr>
          <a:xfrm>
            <a:off x="6096001" y="2591422"/>
            <a:ext cx="2103620" cy="883879"/>
            <a:chOff x="0" y="0"/>
            <a:chExt cx="3433871" cy="858178"/>
          </a:xfrm>
        </p:grpSpPr>
        <p:sp>
          <p:nvSpPr>
            <p:cNvPr id="25" name="Suorakulmio: Pyöristetyt kulmat 24">
              <a:extLst>
                <a:ext uri="{FF2B5EF4-FFF2-40B4-BE49-F238E27FC236}">
                  <a16:creationId xmlns:a16="http://schemas.microsoft.com/office/drawing/2014/main" xmlns="" id="{B3E34E57-BD83-4070-B109-16995B8ADE4E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Suorakulmio: Pyöristetyt kulmat 4">
              <a:extLst>
                <a:ext uri="{FF2B5EF4-FFF2-40B4-BE49-F238E27FC236}">
                  <a16:creationId xmlns:a16="http://schemas.microsoft.com/office/drawing/2014/main" xmlns="" id="{AAD562A7-54BD-41EE-975B-333F91CB9DB4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Jälkivaihe</a:t>
              </a:r>
            </a:p>
            <a:p>
              <a:r>
                <a:rPr lang="fi-FI" sz="1400" dirty="0"/>
                <a:t>Sukkularihmat vetävät</a:t>
              </a:r>
              <a:br>
                <a:rPr lang="fi-FI" sz="1400" dirty="0"/>
              </a:br>
              <a:r>
                <a:rPr lang="fi-FI" sz="1400" dirty="0" err="1"/>
                <a:t>sisarkromatidit</a:t>
              </a:r>
              <a:r>
                <a:rPr lang="fi-FI" sz="1400" dirty="0"/>
                <a:t> erilleen</a:t>
              </a:r>
            </a:p>
          </p:txBody>
        </p:sp>
      </p:grpSp>
      <p:grpSp>
        <p:nvGrpSpPr>
          <p:cNvPr id="27" name="Ryhmä 26">
            <a:extLst>
              <a:ext uri="{FF2B5EF4-FFF2-40B4-BE49-F238E27FC236}">
                <a16:creationId xmlns:a16="http://schemas.microsoft.com/office/drawing/2014/main" xmlns="" id="{ECB1719E-F54E-4D20-A1F6-311B8011AFAD}"/>
              </a:ext>
            </a:extLst>
          </p:cNvPr>
          <p:cNvGrpSpPr/>
          <p:nvPr/>
        </p:nvGrpSpPr>
        <p:grpSpPr>
          <a:xfrm>
            <a:off x="8531426" y="2591422"/>
            <a:ext cx="2280554" cy="1179844"/>
            <a:chOff x="0" y="0"/>
            <a:chExt cx="3433871" cy="858178"/>
          </a:xfrm>
        </p:grpSpPr>
        <p:sp>
          <p:nvSpPr>
            <p:cNvPr id="35" name="Suorakulmio: Pyöristetyt kulmat 34">
              <a:extLst>
                <a:ext uri="{FF2B5EF4-FFF2-40B4-BE49-F238E27FC236}">
                  <a16:creationId xmlns:a16="http://schemas.microsoft.com/office/drawing/2014/main" xmlns="" id="{1FC7D0D8-B8A2-48E9-9518-EA58EA150ABD}"/>
                </a:ext>
              </a:extLst>
            </p:cNvPr>
            <p:cNvSpPr/>
            <p:nvPr/>
          </p:nvSpPr>
          <p:spPr>
            <a:xfrm>
              <a:off x="0" y="0"/>
              <a:ext cx="3433871" cy="858178"/>
            </a:xfrm>
            <a:prstGeom prst="roundRect">
              <a:avLst>
                <a:gd name="adj" fmla="val 10000"/>
              </a:avLst>
            </a:prstGeom>
            <a:solidFill>
              <a:srgbClr val="EC008C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Suorakulmio: Pyöristetyt kulmat 4">
              <a:extLst>
                <a:ext uri="{FF2B5EF4-FFF2-40B4-BE49-F238E27FC236}">
                  <a16:creationId xmlns:a16="http://schemas.microsoft.com/office/drawing/2014/main" xmlns="" id="{F18A58B7-7C21-47F4-BECE-7F9613A98C99}"/>
                </a:ext>
              </a:extLst>
            </p:cNvPr>
            <p:cNvSpPr txBox="1"/>
            <p:nvPr/>
          </p:nvSpPr>
          <p:spPr>
            <a:xfrm>
              <a:off x="25135" y="25135"/>
              <a:ext cx="3408736" cy="800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r>
                <a:rPr lang="fi-FI" sz="1400" b="1" dirty="0"/>
                <a:t>Loppuvaihe</a:t>
              </a:r>
            </a:p>
            <a:p>
              <a:r>
                <a:rPr lang="fi-FI" sz="1400" dirty="0"/>
                <a:t>Samanlaiset tytärkromosomit </a:t>
              </a:r>
              <a:br>
                <a:rPr lang="fi-FI" sz="1400" dirty="0"/>
              </a:br>
              <a:r>
                <a:rPr lang="fi-FI" sz="1400" dirty="0"/>
                <a:t>päätyvät eri tytärsoluihin.</a:t>
              </a:r>
              <a:br>
                <a:rPr lang="fi-FI" sz="1400" dirty="0"/>
              </a:br>
              <a:r>
                <a:rPr lang="fi-FI" sz="1400" dirty="0"/>
                <a:t>Niiden ympärille muodostuu</a:t>
              </a:r>
              <a:br>
                <a:rPr lang="fi-FI" sz="1400" dirty="0"/>
              </a:br>
              <a:r>
                <a:rPr lang="fi-FI" sz="1400" dirty="0"/>
                <a:t>tumakotel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96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xmlns="" id="{131BAD53-4E89-4F62-BBB7-26359763ED3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62756DA2-40EB-4C6F-B962-5822FFB54FB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5653438" cy="6858000"/>
          </a:xfrm>
          <a:custGeom>
            <a:avLst/>
            <a:gdLst>
              <a:gd name="connsiteX0" fmla="*/ 0 w 6096000"/>
              <a:gd name="connsiteY0" fmla="*/ 0 h 6858000"/>
              <a:gd name="connsiteX1" fmla="*/ 5567517 w 6096000"/>
              <a:gd name="connsiteY1" fmla="*/ 0 h 6858000"/>
              <a:gd name="connsiteX2" fmla="*/ 5566938 w 6096000"/>
              <a:gd name="connsiteY2" fmla="*/ 1705 h 6858000"/>
              <a:gd name="connsiteX3" fmla="*/ 5551594 w 6096000"/>
              <a:gd name="connsiteY3" fmla="*/ 17287 h 6858000"/>
              <a:gd name="connsiteX4" fmla="*/ 5545641 w 6096000"/>
              <a:gd name="connsiteY4" fmla="*/ 130336 h 6858000"/>
              <a:gd name="connsiteX5" fmla="*/ 5538289 w 6096000"/>
              <a:gd name="connsiteY5" fmla="*/ 187093 h 6858000"/>
              <a:gd name="connsiteX6" fmla="*/ 5545790 w 6096000"/>
              <a:gd name="connsiteY6" fmla="*/ 265704 h 6858000"/>
              <a:gd name="connsiteX7" fmla="*/ 5542313 w 6096000"/>
              <a:gd name="connsiteY7" fmla="*/ 354566 h 6858000"/>
              <a:gd name="connsiteX8" fmla="*/ 5524126 w 6096000"/>
              <a:gd name="connsiteY8" fmla="*/ 472000 h 6858000"/>
              <a:gd name="connsiteX9" fmla="*/ 5522170 w 6096000"/>
              <a:gd name="connsiteY9" fmla="*/ 473782 h 6858000"/>
              <a:gd name="connsiteX10" fmla="*/ 5521798 w 6096000"/>
              <a:gd name="connsiteY10" fmla="*/ 491380 h 6858000"/>
              <a:gd name="connsiteX11" fmla="*/ 5536419 w 6096000"/>
              <a:gd name="connsiteY11" fmla="*/ 531675 h 6858000"/>
              <a:gd name="connsiteX12" fmla="*/ 5533435 w 6096000"/>
              <a:gd name="connsiteY12" fmla="*/ 536015 h 6858000"/>
              <a:gd name="connsiteX13" fmla="*/ 5538088 w 6096000"/>
              <a:gd name="connsiteY13" fmla="*/ 572092 h 6858000"/>
              <a:gd name="connsiteX14" fmla="*/ 5536061 w 6096000"/>
              <a:gd name="connsiteY14" fmla="*/ 572511 h 6858000"/>
              <a:gd name="connsiteX15" fmla="*/ 5528218 w 6096000"/>
              <a:gd name="connsiteY15" fmla="*/ 582332 h 6858000"/>
              <a:gd name="connsiteX16" fmla="*/ 5518011 w 6096000"/>
              <a:gd name="connsiteY16" fmla="*/ 601285 h 6858000"/>
              <a:gd name="connsiteX17" fmla="*/ 5473174 w 6096000"/>
              <a:gd name="connsiteY17" fmla="*/ 681608 h 6858000"/>
              <a:gd name="connsiteX18" fmla="*/ 5472963 w 6096000"/>
              <a:gd name="connsiteY18" fmla="*/ 689151 h 6858000"/>
              <a:gd name="connsiteX19" fmla="*/ 5472485 w 6096000"/>
              <a:gd name="connsiteY19" fmla="*/ 689289 h 6858000"/>
              <a:gd name="connsiteX20" fmla="*/ 5471326 w 6096000"/>
              <a:gd name="connsiteY20" fmla="*/ 697222 h 6858000"/>
              <a:gd name="connsiteX21" fmla="*/ 5472164 w 6096000"/>
              <a:gd name="connsiteY21" fmla="*/ 717531 h 6858000"/>
              <a:gd name="connsiteX22" fmla="*/ 5468891 w 6096000"/>
              <a:gd name="connsiteY22" fmla="*/ 722494 h 6858000"/>
              <a:gd name="connsiteX23" fmla="*/ 5463081 w 6096000"/>
              <a:gd name="connsiteY23" fmla="*/ 724368 h 6858000"/>
              <a:gd name="connsiteX24" fmla="*/ 5446981 w 6096000"/>
              <a:gd name="connsiteY24" fmla="*/ 752692 h 6858000"/>
              <a:gd name="connsiteX25" fmla="*/ 5417190 w 6096000"/>
              <a:gd name="connsiteY25" fmla="*/ 816346 h 6858000"/>
              <a:gd name="connsiteX26" fmla="*/ 5388958 w 6096000"/>
              <a:gd name="connsiteY26" fmla="*/ 889417 h 6858000"/>
              <a:gd name="connsiteX27" fmla="*/ 5307044 w 6096000"/>
              <a:gd name="connsiteY27" fmla="*/ 1063288 h 6858000"/>
              <a:gd name="connsiteX28" fmla="*/ 5303837 w 6096000"/>
              <a:gd name="connsiteY28" fmla="*/ 1157176 h 6858000"/>
              <a:gd name="connsiteX29" fmla="*/ 5286494 w 6096000"/>
              <a:gd name="connsiteY29" fmla="*/ 1210776 h 6858000"/>
              <a:gd name="connsiteX30" fmla="*/ 5282463 w 6096000"/>
              <a:gd name="connsiteY30" fmla="*/ 1301993 h 6858000"/>
              <a:gd name="connsiteX31" fmla="*/ 5252235 w 6096000"/>
              <a:gd name="connsiteY31" fmla="*/ 1360879 h 6858000"/>
              <a:gd name="connsiteX32" fmla="*/ 5244497 w 6096000"/>
              <a:gd name="connsiteY32" fmla="*/ 1404045 h 6858000"/>
              <a:gd name="connsiteX33" fmla="*/ 5223823 w 6096000"/>
              <a:gd name="connsiteY33" fmla="*/ 1429568 h 6858000"/>
              <a:gd name="connsiteX34" fmla="*/ 5224851 w 6096000"/>
              <a:gd name="connsiteY34" fmla="*/ 1430305 h 6858000"/>
              <a:gd name="connsiteX35" fmla="*/ 5212394 w 6096000"/>
              <a:gd name="connsiteY35" fmla="*/ 1463304 h 6858000"/>
              <a:gd name="connsiteX36" fmla="*/ 5209958 w 6096000"/>
              <a:gd name="connsiteY36" fmla="*/ 1514846 h 6858000"/>
              <a:gd name="connsiteX37" fmla="*/ 5206417 w 6096000"/>
              <a:gd name="connsiteY37" fmla="*/ 1519731 h 6858000"/>
              <a:gd name="connsiteX38" fmla="*/ 5206640 w 6096000"/>
              <a:gd name="connsiteY38" fmla="*/ 1519929 h 6858000"/>
              <a:gd name="connsiteX39" fmla="*/ 5207632 w 6096000"/>
              <a:gd name="connsiteY39" fmla="*/ 1546022 h 6858000"/>
              <a:gd name="connsiteX40" fmla="*/ 5212030 w 6096000"/>
              <a:gd name="connsiteY40" fmla="*/ 1578752 h 6858000"/>
              <a:gd name="connsiteX41" fmla="*/ 5203533 w 6096000"/>
              <a:gd name="connsiteY41" fmla="*/ 1647555 h 6858000"/>
              <a:gd name="connsiteX42" fmla="*/ 5190877 w 6096000"/>
              <a:gd name="connsiteY42" fmla="*/ 1715685 h 6858000"/>
              <a:gd name="connsiteX43" fmla="*/ 5184235 w 6096000"/>
              <a:gd name="connsiteY43" fmla="*/ 1740358 h 6858000"/>
              <a:gd name="connsiteX44" fmla="*/ 5181475 w 6096000"/>
              <a:gd name="connsiteY44" fmla="*/ 1784314 h 6858000"/>
              <a:gd name="connsiteX45" fmla="*/ 5185845 w 6096000"/>
              <a:gd name="connsiteY45" fmla="*/ 1804434 h 6858000"/>
              <a:gd name="connsiteX46" fmla="*/ 5185068 w 6096000"/>
              <a:gd name="connsiteY46" fmla="*/ 1805316 h 6858000"/>
              <a:gd name="connsiteX47" fmla="*/ 5188593 w 6096000"/>
              <a:gd name="connsiteY47" fmla="*/ 1807109 h 6858000"/>
              <a:gd name="connsiteX48" fmla="*/ 5185920 w 6096000"/>
              <a:gd name="connsiteY48" fmla="*/ 1821003 h 6858000"/>
              <a:gd name="connsiteX49" fmla="*/ 5183543 w 6096000"/>
              <a:gd name="connsiteY49" fmla="*/ 1824832 h 6858000"/>
              <a:gd name="connsiteX50" fmla="*/ 5182235 w 6096000"/>
              <a:gd name="connsiteY50" fmla="*/ 1830429 h 6858000"/>
              <a:gd name="connsiteX51" fmla="*/ 5182525 w 6096000"/>
              <a:gd name="connsiteY51" fmla="*/ 1830569 h 6858000"/>
              <a:gd name="connsiteX52" fmla="*/ 5180663 w 6096000"/>
              <a:gd name="connsiteY52" fmla="*/ 1835810 h 6858000"/>
              <a:gd name="connsiteX53" fmla="*/ 5167452 w 6096000"/>
              <a:gd name="connsiteY53" fmla="*/ 1861483 h 6858000"/>
              <a:gd name="connsiteX54" fmla="*/ 5174266 w 6096000"/>
              <a:gd name="connsiteY54" fmla="*/ 1892417 h 6858000"/>
              <a:gd name="connsiteX55" fmla="*/ 5189262 w 6096000"/>
              <a:gd name="connsiteY55" fmla="*/ 1895114 h 6858000"/>
              <a:gd name="connsiteX56" fmla="*/ 5187100 w 6096000"/>
              <a:gd name="connsiteY56" fmla="*/ 1899379 h 6858000"/>
              <a:gd name="connsiteX57" fmla="*/ 5180471 w 6096000"/>
              <a:gd name="connsiteY57" fmla="*/ 1907867 h 6858000"/>
              <a:gd name="connsiteX58" fmla="*/ 5181361 w 6096000"/>
              <a:gd name="connsiteY58" fmla="*/ 1910265 h 6858000"/>
              <a:gd name="connsiteX59" fmla="*/ 5178268 w 6096000"/>
              <a:gd name="connsiteY59" fmla="*/ 1935584 h 6858000"/>
              <a:gd name="connsiteX60" fmla="*/ 5183619 w 6096000"/>
              <a:gd name="connsiteY60" fmla="*/ 1942021 h 6858000"/>
              <a:gd name="connsiteX61" fmla="*/ 5184480 w 6096000"/>
              <a:gd name="connsiteY61" fmla="*/ 1945112 h 6858000"/>
              <a:gd name="connsiteX62" fmla="*/ 5172776 w 6096000"/>
              <a:gd name="connsiteY62" fmla="*/ 1961162 h 6858000"/>
              <a:gd name="connsiteX63" fmla="*/ 5168513 w 6096000"/>
              <a:gd name="connsiteY63" fmla="*/ 1969445 h 6858000"/>
              <a:gd name="connsiteX64" fmla="*/ 5126597 w 6096000"/>
              <a:gd name="connsiteY64" fmla="*/ 2024270 h 6858000"/>
              <a:gd name="connsiteX65" fmla="*/ 5119528 w 6096000"/>
              <a:gd name="connsiteY65" fmla="*/ 2107942 h 6858000"/>
              <a:gd name="connsiteX66" fmla="*/ 5110356 w 6096000"/>
              <a:gd name="connsiteY66" fmla="*/ 2193455 h 6858000"/>
              <a:gd name="connsiteX67" fmla="*/ 5104992 w 6096000"/>
              <a:gd name="connsiteY67" fmla="*/ 2260088 h 6858000"/>
              <a:gd name="connsiteX68" fmla="*/ 5059439 w 6096000"/>
              <a:gd name="connsiteY68" fmla="*/ 2335735 h 6858000"/>
              <a:gd name="connsiteX69" fmla="*/ 5022061 w 6096000"/>
              <a:gd name="connsiteY69" fmla="*/ 2408995 h 6858000"/>
              <a:gd name="connsiteX70" fmla="*/ 5022253 w 6096000"/>
              <a:gd name="connsiteY70" fmla="*/ 2445869 h 6858000"/>
              <a:gd name="connsiteX71" fmla="*/ 5011426 w 6096000"/>
              <a:gd name="connsiteY71" fmla="*/ 2496499 h 6858000"/>
              <a:gd name="connsiteX72" fmla="*/ 4994224 w 6096000"/>
              <a:gd name="connsiteY72" fmla="*/ 2549900 h 6858000"/>
              <a:gd name="connsiteX73" fmla="*/ 4995245 w 6096000"/>
              <a:gd name="connsiteY73" fmla="*/ 2596456 h 6858000"/>
              <a:gd name="connsiteX74" fmla="*/ 4988570 w 6096000"/>
              <a:gd name="connsiteY74" fmla="*/ 2606088 h 6858000"/>
              <a:gd name="connsiteX75" fmla="*/ 4988371 w 6096000"/>
              <a:gd name="connsiteY75" fmla="*/ 2635351 h 6858000"/>
              <a:gd name="connsiteX76" fmla="*/ 4983212 w 6096000"/>
              <a:gd name="connsiteY76" fmla="*/ 2665666 h 6858000"/>
              <a:gd name="connsiteX77" fmla="*/ 4968234 w 6096000"/>
              <a:gd name="connsiteY77" fmla="*/ 2715895 h 6858000"/>
              <a:gd name="connsiteX78" fmla="*/ 4975888 w 6096000"/>
              <a:gd name="connsiteY78" fmla="*/ 2725052 h 6858000"/>
              <a:gd name="connsiteX79" fmla="*/ 4980195 w 6096000"/>
              <a:gd name="connsiteY79" fmla="*/ 2726489 h 6858000"/>
              <a:gd name="connsiteX80" fmla="*/ 4976218 w 6096000"/>
              <a:gd name="connsiteY80" fmla="*/ 2740278 h 6858000"/>
              <a:gd name="connsiteX81" fmla="*/ 4980571 w 6096000"/>
              <a:gd name="connsiteY81" fmla="*/ 2751112 h 6858000"/>
              <a:gd name="connsiteX82" fmla="*/ 4973893 w 6096000"/>
              <a:gd name="connsiteY82" fmla="*/ 2760208 h 6858000"/>
              <a:gd name="connsiteX83" fmla="*/ 4979005 w 6096000"/>
              <a:gd name="connsiteY83" fmla="*/ 2790136 h 6858000"/>
              <a:gd name="connsiteX84" fmla="*/ 4986137 w 6096000"/>
              <a:gd name="connsiteY84" fmla="*/ 2804183 h 6858000"/>
              <a:gd name="connsiteX85" fmla="*/ 4986175 w 6096000"/>
              <a:gd name="connsiteY85" fmla="*/ 2825860 h 6858000"/>
              <a:gd name="connsiteX86" fmla="*/ 4993936 w 6096000"/>
              <a:gd name="connsiteY86" fmla="*/ 2911749 h 6858000"/>
              <a:gd name="connsiteX87" fmla="*/ 4992563 w 6096000"/>
              <a:gd name="connsiteY87" fmla="*/ 2977278 h 6858000"/>
              <a:gd name="connsiteX88" fmla="*/ 4980516 w 6096000"/>
              <a:gd name="connsiteY88" fmla="*/ 2991092 h 6858000"/>
              <a:gd name="connsiteX89" fmla="*/ 4992801 w 6096000"/>
              <a:gd name="connsiteY89" fmla="*/ 3020247 h 6858000"/>
              <a:gd name="connsiteX90" fmla="*/ 5014805 w 6096000"/>
              <a:gd name="connsiteY90" fmla="*/ 3065434 h 6858000"/>
              <a:gd name="connsiteX91" fmla="*/ 5002733 w 6096000"/>
              <a:gd name="connsiteY91" fmla="*/ 3103777 h 6858000"/>
              <a:gd name="connsiteX92" fmla="*/ 5002941 w 6096000"/>
              <a:gd name="connsiteY92" fmla="*/ 3151828 h 6858000"/>
              <a:gd name="connsiteX93" fmla="*/ 5002883 w 6096000"/>
              <a:gd name="connsiteY93" fmla="*/ 3180546 h 6858000"/>
              <a:gd name="connsiteX94" fmla="*/ 5016711 w 6096000"/>
              <a:gd name="connsiteY94" fmla="*/ 3258677 h 6858000"/>
              <a:gd name="connsiteX95" fmla="*/ 5017918 w 6096000"/>
              <a:gd name="connsiteY95" fmla="*/ 3262610 h 6858000"/>
              <a:gd name="connsiteX96" fmla="*/ 5011672 w 6096000"/>
              <a:gd name="connsiteY96" fmla="*/ 3277179 h 6858000"/>
              <a:gd name="connsiteX97" fmla="*/ 5009344 w 6096000"/>
              <a:gd name="connsiteY97" fmla="*/ 3278130 h 6858000"/>
              <a:gd name="connsiteX98" fmla="*/ 5026770 w 6096000"/>
              <a:gd name="connsiteY98" fmla="*/ 3325671 h 6858000"/>
              <a:gd name="connsiteX99" fmla="*/ 5024571 w 6096000"/>
              <a:gd name="connsiteY99" fmla="*/ 3332072 h 6858000"/>
              <a:gd name="connsiteX100" fmla="*/ 5041705 w 6096000"/>
              <a:gd name="connsiteY100" fmla="*/ 3362948 h 6858000"/>
              <a:gd name="connsiteX101" fmla="*/ 5047477 w 6096000"/>
              <a:gd name="connsiteY101" fmla="*/ 3378959 h 6858000"/>
              <a:gd name="connsiteX102" fmla="*/ 5060758 w 6096000"/>
              <a:gd name="connsiteY102" fmla="*/ 3407057 h 6858000"/>
              <a:gd name="connsiteX103" fmla="*/ 5058968 w 6096000"/>
              <a:gd name="connsiteY103" fmla="*/ 3409825 h 6858000"/>
              <a:gd name="connsiteX104" fmla="*/ 5062667 w 6096000"/>
              <a:gd name="connsiteY104" fmla="*/ 3415218 h 6858000"/>
              <a:gd name="connsiteX105" fmla="*/ 5060928 w 6096000"/>
              <a:gd name="connsiteY105" fmla="*/ 3419880 h 6858000"/>
              <a:gd name="connsiteX106" fmla="*/ 5062923 w 6096000"/>
              <a:gd name="connsiteY106" fmla="*/ 3424545 h 6858000"/>
              <a:gd name="connsiteX107" fmla="*/ 5064623 w 6096000"/>
              <a:gd name="connsiteY107" fmla="*/ 3476412 h 6858000"/>
              <a:gd name="connsiteX108" fmla="*/ 5069684 w 6096000"/>
              <a:gd name="connsiteY108" fmla="*/ 3486850 h 6858000"/>
              <a:gd name="connsiteX109" fmla="*/ 5063339 w 6096000"/>
              <a:gd name="connsiteY109" fmla="*/ 3496391 h 6858000"/>
              <a:gd name="connsiteX110" fmla="*/ 5070139 w 6096000"/>
              <a:gd name="connsiteY110" fmla="*/ 3531201 h 6858000"/>
              <a:gd name="connsiteX111" fmla="*/ 5079896 w 6096000"/>
              <a:gd name="connsiteY111" fmla="*/ 3542019 h 6858000"/>
              <a:gd name="connsiteX112" fmla="*/ 5087540 w 6096000"/>
              <a:gd name="connsiteY112" fmla="*/ 3552249 h 6858000"/>
              <a:gd name="connsiteX113" fmla="*/ 5087902 w 6096000"/>
              <a:gd name="connsiteY113" fmla="*/ 3553678 h 6858000"/>
              <a:gd name="connsiteX114" fmla="*/ 5091509 w 6096000"/>
              <a:gd name="connsiteY114" fmla="*/ 3568021 h 6858000"/>
              <a:gd name="connsiteX115" fmla="*/ 5091934 w 6096000"/>
              <a:gd name="connsiteY115" fmla="*/ 3569719 h 6858000"/>
              <a:gd name="connsiteX116" fmla="*/ 5089362 w 6096000"/>
              <a:gd name="connsiteY116" fmla="*/ 3586412 h 6858000"/>
              <a:gd name="connsiteX117" fmla="*/ 5092358 w 6096000"/>
              <a:gd name="connsiteY117" fmla="*/ 3597336 h 6858000"/>
              <a:gd name="connsiteX118" fmla="*/ 5084254 w 6096000"/>
              <a:gd name="connsiteY118" fmla="*/ 3606007 h 6858000"/>
              <a:gd name="connsiteX119" fmla="*/ 5084281 w 6096000"/>
              <a:gd name="connsiteY119" fmla="*/ 3641228 h 6858000"/>
              <a:gd name="connsiteX120" fmla="*/ 5091848 w 6096000"/>
              <a:gd name="connsiteY120" fmla="*/ 3653088 h 6858000"/>
              <a:gd name="connsiteX121" fmla="*/ 5097436 w 6096000"/>
              <a:gd name="connsiteY121" fmla="*/ 3664114 h 6858000"/>
              <a:gd name="connsiteX122" fmla="*/ 5097518 w 6096000"/>
              <a:gd name="connsiteY122" fmla="*/ 3665569 h 6858000"/>
              <a:gd name="connsiteX123" fmla="*/ 5099829 w 6096000"/>
              <a:gd name="connsiteY123" fmla="*/ 3707357 h 6858000"/>
              <a:gd name="connsiteX124" fmla="*/ 5114696 w 6096000"/>
              <a:gd name="connsiteY124" fmla="*/ 3778166 h 6858000"/>
              <a:gd name="connsiteX125" fmla="*/ 5135379 w 6096000"/>
              <a:gd name="connsiteY125" fmla="*/ 3878222 h 6858000"/>
              <a:gd name="connsiteX126" fmla="*/ 5130138 w 6096000"/>
              <a:gd name="connsiteY126" fmla="*/ 4048117 h 6858000"/>
              <a:gd name="connsiteX127" fmla="*/ 5090040 w 6096000"/>
              <a:gd name="connsiteY127" fmla="*/ 4219510 h 6858000"/>
              <a:gd name="connsiteX128" fmla="*/ 5092812 w 6096000"/>
              <a:gd name="connsiteY128" fmla="*/ 4411258 h 6858000"/>
              <a:gd name="connsiteX129" fmla="*/ 5084599 w 6096000"/>
              <a:gd name="connsiteY129" fmla="*/ 4488531 h 6858000"/>
              <a:gd name="connsiteX130" fmla="*/ 5084072 w 6096000"/>
              <a:gd name="connsiteY130" fmla="*/ 4539168 h 6858000"/>
              <a:gd name="connsiteX131" fmla="*/ 5068936 w 6096000"/>
              <a:gd name="connsiteY131" fmla="*/ 4625153 h 6858000"/>
              <a:gd name="connsiteX132" fmla="*/ 5059114 w 6096000"/>
              <a:gd name="connsiteY132" fmla="*/ 4733115 h 6858000"/>
              <a:gd name="connsiteX133" fmla="*/ 5037209 w 6096000"/>
              <a:gd name="connsiteY133" fmla="*/ 4844323 h 6858000"/>
              <a:gd name="connsiteX134" fmla="*/ 5020638 w 6096000"/>
              <a:gd name="connsiteY134" fmla="*/ 4877992 h 6858000"/>
              <a:gd name="connsiteX135" fmla="*/ 5006413 w 6096000"/>
              <a:gd name="connsiteY135" fmla="*/ 4925805 h 6858000"/>
              <a:gd name="connsiteX136" fmla="*/ 4971037 w 6096000"/>
              <a:gd name="connsiteY136" fmla="*/ 5009272 h 6858000"/>
              <a:gd name="connsiteX137" fmla="*/ 4963105 w 6096000"/>
              <a:gd name="connsiteY137" fmla="*/ 5111369 h 6858000"/>
              <a:gd name="connsiteX138" fmla="*/ 4976341 w 6096000"/>
              <a:gd name="connsiteY138" fmla="*/ 5210876 h 6858000"/>
              <a:gd name="connsiteX139" fmla="*/ 4980617 w 6096000"/>
              <a:gd name="connsiteY139" fmla="*/ 5269726 h 6858000"/>
              <a:gd name="connsiteX140" fmla="*/ 4997733 w 6096000"/>
              <a:gd name="connsiteY140" fmla="*/ 5464225 h 6858000"/>
              <a:gd name="connsiteX141" fmla="*/ 5001400 w 6096000"/>
              <a:gd name="connsiteY141" fmla="*/ 5594585 h 6858000"/>
              <a:gd name="connsiteX142" fmla="*/ 4983700 w 6096000"/>
              <a:gd name="connsiteY142" fmla="*/ 5667896 h 6858000"/>
              <a:gd name="connsiteX143" fmla="*/ 4968506 w 6096000"/>
              <a:gd name="connsiteY143" fmla="*/ 5769225 h 6858000"/>
              <a:gd name="connsiteX144" fmla="*/ 4969765 w 6096000"/>
              <a:gd name="connsiteY144" fmla="*/ 5823324 h 6858000"/>
              <a:gd name="connsiteX145" fmla="*/ 4966129 w 6096000"/>
              <a:gd name="connsiteY145" fmla="*/ 5862699 h 6858000"/>
              <a:gd name="connsiteX146" fmla="*/ 4970695 w 6096000"/>
              <a:gd name="connsiteY146" fmla="*/ 5906467 h 6858000"/>
              <a:gd name="connsiteX147" fmla="*/ 4991568 w 6096000"/>
              <a:gd name="connsiteY147" fmla="*/ 5939847 h 6858000"/>
              <a:gd name="connsiteX148" fmla="*/ 4986815 w 6096000"/>
              <a:gd name="connsiteY148" fmla="*/ 5973994 h 6858000"/>
              <a:gd name="connsiteX149" fmla="*/ 4987776 w 6096000"/>
              <a:gd name="connsiteY149" fmla="*/ 6089693 h 6858000"/>
              <a:gd name="connsiteX150" fmla="*/ 4991621 w 6096000"/>
              <a:gd name="connsiteY150" fmla="*/ 6224938 h 6858000"/>
              <a:gd name="connsiteX151" fmla="*/ 5017157 w 6096000"/>
              <a:gd name="connsiteY151" fmla="*/ 6370251 h 6858000"/>
              <a:gd name="connsiteX152" fmla="*/ 5040797 w 6096000"/>
              <a:gd name="connsiteY152" fmla="*/ 6541313 h 6858000"/>
              <a:gd name="connsiteX153" fmla="*/ 5045375 w 6096000"/>
              <a:gd name="connsiteY153" fmla="*/ 6640957 h 6858000"/>
              <a:gd name="connsiteX154" fmla="*/ 5058442 w 6096000"/>
              <a:gd name="connsiteY154" fmla="*/ 6705297 h 6858000"/>
              <a:gd name="connsiteX155" fmla="*/ 5071125 w 6096000"/>
              <a:gd name="connsiteY155" fmla="*/ 6759582 h 6858000"/>
              <a:gd name="connsiteX156" fmla="*/ 5069172 w 6096000"/>
              <a:gd name="connsiteY156" fmla="*/ 6817746 h 6858000"/>
              <a:gd name="connsiteX157" fmla="*/ 5072322 w 6096000"/>
              <a:gd name="connsiteY157" fmla="*/ 6843646 h 6858000"/>
              <a:gd name="connsiteX158" fmla="*/ 5091388 w 6096000"/>
              <a:gd name="connsiteY158" fmla="*/ 6857998 h 6858000"/>
              <a:gd name="connsiteX159" fmla="*/ 6096000 w 6096000"/>
              <a:gd name="connsiteY159" fmla="*/ 6857998 h 6858000"/>
              <a:gd name="connsiteX160" fmla="*/ 6096000 w 6096000"/>
              <a:gd name="connsiteY160" fmla="*/ 6858000 h 6858000"/>
              <a:gd name="connsiteX161" fmla="*/ 0 w 6096000"/>
              <a:gd name="connsiteY16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67517" y="0"/>
                </a:lnTo>
                <a:lnTo>
                  <a:pt x="5566938" y="1705"/>
                </a:lnTo>
                <a:cubicBezTo>
                  <a:pt x="5563126" y="8440"/>
                  <a:pt x="5558112" y="13784"/>
                  <a:pt x="5551594" y="17287"/>
                </a:cubicBezTo>
                <a:cubicBezTo>
                  <a:pt x="5562364" y="82036"/>
                  <a:pt x="5510349" y="69804"/>
                  <a:pt x="5545641" y="130336"/>
                </a:cubicBezTo>
                <a:cubicBezTo>
                  <a:pt x="5526953" y="117589"/>
                  <a:pt x="5536978" y="162458"/>
                  <a:pt x="5538289" y="187093"/>
                </a:cubicBezTo>
                <a:cubicBezTo>
                  <a:pt x="5536205" y="226511"/>
                  <a:pt x="5545722" y="205530"/>
                  <a:pt x="5545790" y="265704"/>
                </a:cubicBezTo>
                <a:cubicBezTo>
                  <a:pt x="5542296" y="317533"/>
                  <a:pt x="5543813" y="325288"/>
                  <a:pt x="5542313" y="354566"/>
                </a:cubicBezTo>
                <a:lnTo>
                  <a:pt x="5524126" y="472000"/>
                </a:lnTo>
                <a:lnTo>
                  <a:pt x="5522170" y="473782"/>
                </a:lnTo>
                <a:cubicBezTo>
                  <a:pt x="5517847" y="482008"/>
                  <a:pt x="5518682" y="487340"/>
                  <a:pt x="5521798" y="491380"/>
                </a:cubicBezTo>
                <a:lnTo>
                  <a:pt x="5536419" y="531675"/>
                </a:lnTo>
                <a:lnTo>
                  <a:pt x="5533435" y="536015"/>
                </a:lnTo>
                <a:lnTo>
                  <a:pt x="5538088" y="572092"/>
                </a:lnTo>
                <a:lnTo>
                  <a:pt x="5536061" y="572511"/>
                </a:lnTo>
                <a:cubicBezTo>
                  <a:pt x="5531611" y="574271"/>
                  <a:pt x="5528529" y="577121"/>
                  <a:pt x="5528218" y="582332"/>
                </a:cubicBezTo>
                <a:cubicBezTo>
                  <a:pt x="5498002" y="573171"/>
                  <a:pt x="5516262" y="585107"/>
                  <a:pt x="5518011" y="601285"/>
                </a:cubicBezTo>
                <a:cubicBezTo>
                  <a:pt x="5508838" y="617831"/>
                  <a:pt x="5480684" y="666964"/>
                  <a:pt x="5473174" y="681608"/>
                </a:cubicBezTo>
                <a:cubicBezTo>
                  <a:pt x="5473102" y="684122"/>
                  <a:pt x="5473033" y="686637"/>
                  <a:pt x="5472963" y="689151"/>
                </a:cubicBezTo>
                <a:lnTo>
                  <a:pt x="5472485" y="689289"/>
                </a:lnTo>
                <a:cubicBezTo>
                  <a:pt x="5471434" y="690905"/>
                  <a:pt x="5470986" y="693376"/>
                  <a:pt x="5471326" y="697222"/>
                </a:cubicBezTo>
                <a:cubicBezTo>
                  <a:pt x="5471606" y="703992"/>
                  <a:pt x="5471884" y="710761"/>
                  <a:pt x="5472164" y="717531"/>
                </a:cubicBezTo>
                <a:lnTo>
                  <a:pt x="5468891" y="722494"/>
                </a:lnTo>
                <a:lnTo>
                  <a:pt x="5463081" y="724368"/>
                </a:lnTo>
                <a:lnTo>
                  <a:pt x="5446981" y="752692"/>
                </a:lnTo>
                <a:cubicBezTo>
                  <a:pt x="5454691" y="764380"/>
                  <a:pt x="5422719" y="808083"/>
                  <a:pt x="5417190" y="816346"/>
                </a:cubicBezTo>
                <a:lnTo>
                  <a:pt x="5388958" y="889417"/>
                </a:lnTo>
                <a:cubicBezTo>
                  <a:pt x="5320491" y="969963"/>
                  <a:pt x="5321907" y="1005331"/>
                  <a:pt x="5307044" y="1063288"/>
                </a:cubicBezTo>
                <a:cubicBezTo>
                  <a:pt x="5313332" y="1111028"/>
                  <a:pt x="5317096" y="1110140"/>
                  <a:pt x="5303837" y="1157176"/>
                </a:cubicBezTo>
                <a:cubicBezTo>
                  <a:pt x="5301103" y="1192124"/>
                  <a:pt x="5301884" y="1197232"/>
                  <a:pt x="5286494" y="1210776"/>
                </a:cubicBezTo>
                <a:lnTo>
                  <a:pt x="5282463" y="1301993"/>
                </a:lnTo>
                <a:lnTo>
                  <a:pt x="5252235" y="1360879"/>
                </a:lnTo>
                <a:lnTo>
                  <a:pt x="5244497" y="1404045"/>
                </a:lnTo>
                <a:lnTo>
                  <a:pt x="5223823" y="1429568"/>
                </a:lnTo>
                <a:lnTo>
                  <a:pt x="5224851" y="1430305"/>
                </a:lnTo>
                <a:cubicBezTo>
                  <a:pt x="5226697" y="1432466"/>
                  <a:pt x="5214738" y="1459891"/>
                  <a:pt x="5212394" y="1463304"/>
                </a:cubicBezTo>
                <a:cubicBezTo>
                  <a:pt x="5209912" y="1477394"/>
                  <a:pt x="5213027" y="1501295"/>
                  <a:pt x="5209958" y="1514846"/>
                </a:cubicBezTo>
                <a:lnTo>
                  <a:pt x="5206417" y="1519731"/>
                </a:lnTo>
                <a:lnTo>
                  <a:pt x="5206640" y="1519929"/>
                </a:lnTo>
                <a:cubicBezTo>
                  <a:pt x="5206490" y="1521210"/>
                  <a:pt x="5209710" y="1543635"/>
                  <a:pt x="5207632" y="1546022"/>
                </a:cubicBezTo>
                <a:lnTo>
                  <a:pt x="5212030" y="1578752"/>
                </a:lnTo>
                <a:cubicBezTo>
                  <a:pt x="5206147" y="1605585"/>
                  <a:pt x="5226381" y="1622803"/>
                  <a:pt x="5203533" y="1647555"/>
                </a:cubicBezTo>
                <a:cubicBezTo>
                  <a:pt x="5198128" y="1672675"/>
                  <a:pt x="5203213" y="1694404"/>
                  <a:pt x="5190877" y="1715685"/>
                </a:cubicBezTo>
                <a:cubicBezTo>
                  <a:pt x="5196815" y="1724301"/>
                  <a:pt x="5198098" y="1732435"/>
                  <a:pt x="5184235" y="1740358"/>
                </a:cubicBezTo>
                <a:cubicBezTo>
                  <a:pt x="5182625" y="1763793"/>
                  <a:pt x="5198368" y="1769422"/>
                  <a:pt x="5181475" y="1784314"/>
                </a:cubicBezTo>
                <a:cubicBezTo>
                  <a:pt x="5205987" y="1797417"/>
                  <a:pt x="5195246" y="1798221"/>
                  <a:pt x="5185845" y="1804434"/>
                </a:cubicBezTo>
                <a:lnTo>
                  <a:pt x="5185068" y="1805316"/>
                </a:lnTo>
                <a:lnTo>
                  <a:pt x="5188593" y="1807109"/>
                </a:lnTo>
                <a:lnTo>
                  <a:pt x="5185920" y="1821003"/>
                </a:lnTo>
                <a:lnTo>
                  <a:pt x="5183543" y="1824832"/>
                </a:lnTo>
                <a:cubicBezTo>
                  <a:pt x="5182284" y="1827468"/>
                  <a:pt x="5181937" y="1829219"/>
                  <a:pt x="5182235" y="1830429"/>
                </a:cubicBezTo>
                <a:lnTo>
                  <a:pt x="5182525" y="1830569"/>
                </a:lnTo>
                <a:lnTo>
                  <a:pt x="5180663" y="1835810"/>
                </a:lnTo>
                <a:cubicBezTo>
                  <a:pt x="5176779" y="1844665"/>
                  <a:pt x="5172297" y="1853278"/>
                  <a:pt x="5167452" y="1861483"/>
                </a:cubicBezTo>
                <a:cubicBezTo>
                  <a:pt x="5179827" y="1866643"/>
                  <a:pt x="5166788" y="1884999"/>
                  <a:pt x="5174266" y="1892417"/>
                </a:cubicBezTo>
                <a:lnTo>
                  <a:pt x="5189262" y="1895114"/>
                </a:lnTo>
                <a:lnTo>
                  <a:pt x="5187100" y="1899379"/>
                </a:lnTo>
                <a:lnTo>
                  <a:pt x="5180471" y="1907867"/>
                </a:lnTo>
                <a:cubicBezTo>
                  <a:pt x="5179609" y="1909162"/>
                  <a:pt x="5179647" y="1909994"/>
                  <a:pt x="5181361" y="1910265"/>
                </a:cubicBezTo>
                <a:cubicBezTo>
                  <a:pt x="5180995" y="1914884"/>
                  <a:pt x="5177893" y="1930292"/>
                  <a:pt x="5178268" y="1935584"/>
                </a:cubicBezTo>
                <a:lnTo>
                  <a:pt x="5183619" y="1942021"/>
                </a:lnTo>
                <a:lnTo>
                  <a:pt x="5184480" y="1945112"/>
                </a:lnTo>
                <a:lnTo>
                  <a:pt x="5172776" y="1961162"/>
                </a:lnTo>
                <a:lnTo>
                  <a:pt x="5168513" y="1969445"/>
                </a:lnTo>
                <a:lnTo>
                  <a:pt x="5126597" y="2024270"/>
                </a:lnTo>
                <a:lnTo>
                  <a:pt x="5119528" y="2107942"/>
                </a:lnTo>
                <a:cubicBezTo>
                  <a:pt x="5089290" y="2138038"/>
                  <a:pt x="5110415" y="2159228"/>
                  <a:pt x="5110356" y="2193455"/>
                </a:cubicBezTo>
                <a:cubicBezTo>
                  <a:pt x="5101302" y="2220953"/>
                  <a:pt x="5110381" y="2224200"/>
                  <a:pt x="5104992" y="2260088"/>
                </a:cubicBezTo>
                <a:cubicBezTo>
                  <a:pt x="5096504" y="2291744"/>
                  <a:pt x="5078225" y="2299003"/>
                  <a:pt x="5059439" y="2335735"/>
                </a:cubicBezTo>
                <a:cubicBezTo>
                  <a:pt x="5029465" y="2329020"/>
                  <a:pt x="5058046" y="2407546"/>
                  <a:pt x="5022061" y="2408995"/>
                </a:cubicBezTo>
                <a:cubicBezTo>
                  <a:pt x="5023289" y="2413465"/>
                  <a:pt x="5019654" y="2441580"/>
                  <a:pt x="5022253" y="2445869"/>
                </a:cubicBezTo>
                <a:cubicBezTo>
                  <a:pt x="5022440" y="2449625"/>
                  <a:pt x="5011241" y="2492743"/>
                  <a:pt x="5011426" y="2496499"/>
                </a:cubicBezTo>
                <a:lnTo>
                  <a:pt x="4994224" y="2549900"/>
                </a:lnTo>
                <a:cubicBezTo>
                  <a:pt x="4992353" y="2564757"/>
                  <a:pt x="4998952" y="2582253"/>
                  <a:pt x="4995245" y="2596456"/>
                </a:cubicBezTo>
                <a:lnTo>
                  <a:pt x="4988570" y="2606088"/>
                </a:lnTo>
                <a:cubicBezTo>
                  <a:pt x="4988504" y="2615842"/>
                  <a:pt x="4988436" y="2625597"/>
                  <a:pt x="4988371" y="2635351"/>
                </a:cubicBezTo>
                <a:lnTo>
                  <a:pt x="4983212" y="2665666"/>
                </a:lnTo>
                <a:lnTo>
                  <a:pt x="4968234" y="2715895"/>
                </a:lnTo>
                <a:lnTo>
                  <a:pt x="4975888" y="2725052"/>
                </a:lnTo>
                <a:lnTo>
                  <a:pt x="4980195" y="2726489"/>
                </a:lnTo>
                <a:lnTo>
                  <a:pt x="4976218" y="2740278"/>
                </a:lnTo>
                <a:lnTo>
                  <a:pt x="4980571" y="2751112"/>
                </a:lnTo>
                <a:lnTo>
                  <a:pt x="4973893" y="2760208"/>
                </a:lnTo>
                <a:lnTo>
                  <a:pt x="4979005" y="2790136"/>
                </a:lnTo>
                <a:lnTo>
                  <a:pt x="4986137" y="2804183"/>
                </a:lnTo>
                <a:cubicBezTo>
                  <a:pt x="4986150" y="2811409"/>
                  <a:pt x="4986162" y="2818634"/>
                  <a:pt x="4986175" y="2825860"/>
                </a:cubicBezTo>
                <a:cubicBezTo>
                  <a:pt x="4987474" y="2843788"/>
                  <a:pt x="4992871" y="2886513"/>
                  <a:pt x="4993936" y="2911749"/>
                </a:cubicBezTo>
                <a:cubicBezTo>
                  <a:pt x="4993313" y="2946689"/>
                  <a:pt x="4980300" y="2954448"/>
                  <a:pt x="4992563" y="2977278"/>
                </a:cubicBezTo>
                <a:cubicBezTo>
                  <a:pt x="4985688" y="2983455"/>
                  <a:pt x="4982051" y="2987749"/>
                  <a:pt x="4980516" y="2991092"/>
                </a:cubicBezTo>
                <a:cubicBezTo>
                  <a:pt x="4975910" y="3001119"/>
                  <a:pt x="4990216" y="3002537"/>
                  <a:pt x="4992801" y="3020247"/>
                </a:cubicBezTo>
                <a:cubicBezTo>
                  <a:pt x="4998517" y="3032637"/>
                  <a:pt x="5013148" y="3051512"/>
                  <a:pt x="5014805" y="3065434"/>
                </a:cubicBezTo>
                <a:cubicBezTo>
                  <a:pt x="4998836" y="3057428"/>
                  <a:pt x="5016840" y="3105196"/>
                  <a:pt x="5002733" y="3103777"/>
                </a:cubicBezTo>
                <a:cubicBezTo>
                  <a:pt x="5022381" y="3124610"/>
                  <a:pt x="4997365" y="3128169"/>
                  <a:pt x="5002941" y="3151828"/>
                </a:cubicBezTo>
                <a:cubicBezTo>
                  <a:pt x="5010264" y="3163902"/>
                  <a:pt x="5011356" y="3171780"/>
                  <a:pt x="5002883" y="3180546"/>
                </a:cubicBezTo>
                <a:cubicBezTo>
                  <a:pt x="5038586" y="3236545"/>
                  <a:pt x="5003723" y="3210316"/>
                  <a:pt x="5016711" y="3258677"/>
                </a:cubicBezTo>
                <a:lnTo>
                  <a:pt x="5017918" y="3262610"/>
                </a:lnTo>
                <a:lnTo>
                  <a:pt x="5011672" y="3277179"/>
                </a:lnTo>
                <a:lnTo>
                  <a:pt x="5009344" y="3278130"/>
                </a:lnTo>
                <a:lnTo>
                  <a:pt x="5026770" y="3325671"/>
                </a:lnTo>
                <a:lnTo>
                  <a:pt x="5024571" y="3332072"/>
                </a:lnTo>
                <a:lnTo>
                  <a:pt x="5041705" y="3362948"/>
                </a:lnTo>
                <a:lnTo>
                  <a:pt x="5047477" y="3378959"/>
                </a:lnTo>
                <a:lnTo>
                  <a:pt x="5060758" y="3407057"/>
                </a:lnTo>
                <a:lnTo>
                  <a:pt x="5058968" y="3409825"/>
                </a:lnTo>
                <a:lnTo>
                  <a:pt x="5062667" y="3415218"/>
                </a:lnTo>
                <a:lnTo>
                  <a:pt x="5060928" y="3419880"/>
                </a:lnTo>
                <a:lnTo>
                  <a:pt x="5062923" y="3424545"/>
                </a:lnTo>
                <a:cubicBezTo>
                  <a:pt x="5063537" y="3433967"/>
                  <a:pt x="5063494" y="3466028"/>
                  <a:pt x="5064623" y="3476412"/>
                </a:cubicBezTo>
                <a:lnTo>
                  <a:pt x="5069684" y="3486850"/>
                </a:lnTo>
                <a:lnTo>
                  <a:pt x="5063339" y="3496391"/>
                </a:lnTo>
                <a:lnTo>
                  <a:pt x="5070139" y="3531201"/>
                </a:lnTo>
                <a:lnTo>
                  <a:pt x="5079896" y="3542019"/>
                </a:lnTo>
                <a:lnTo>
                  <a:pt x="5087540" y="3552249"/>
                </a:lnTo>
                <a:lnTo>
                  <a:pt x="5087902" y="3553678"/>
                </a:lnTo>
                <a:lnTo>
                  <a:pt x="5091509" y="3568021"/>
                </a:lnTo>
                <a:lnTo>
                  <a:pt x="5091934" y="3569719"/>
                </a:lnTo>
                <a:lnTo>
                  <a:pt x="5089362" y="3586412"/>
                </a:lnTo>
                <a:lnTo>
                  <a:pt x="5092358" y="3597336"/>
                </a:lnTo>
                <a:lnTo>
                  <a:pt x="5084254" y="3606007"/>
                </a:lnTo>
                <a:cubicBezTo>
                  <a:pt x="5084262" y="3617747"/>
                  <a:pt x="5084273" y="3629488"/>
                  <a:pt x="5084281" y="3641228"/>
                </a:cubicBezTo>
                <a:lnTo>
                  <a:pt x="5091848" y="3653088"/>
                </a:lnTo>
                <a:lnTo>
                  <a:pt x="5097436" y="3664114"/>
                </a:lnTo>
                <a:cubicBezTo>
                  <a:pt x="5097463" y="3664599"/>
                  <a:pt x="5097491" y="3665084"/>
                  <a:pt x="5097518" y="3665569"/>
                </a:cubicBezTo>
                <a:cubicBezTo>
                  <a:pt x="5097915" y="3672776"/>
                  <a:pt x="5096966" y="3688591"/>
                  <a:pt x="5099829" y="3707357"/>
                </a:cubicBezTo>
                <a:cubicBezTo>
                  <a:pt x="5100505" y="3724716"/>
                  <a:pt x="5118078" y="3760234"/>
                  <a:pt x="5114696" y="3778166"/>
                </a:cubicBezTo>
                <a:cubicBezTo>
                  <a:pt x="5141627" y="3845122"/>
                  <a:pt x="5125427" y="3821305"/>
                  <a:pt x="5135379" y="3878222"/>
                </a:cubicBezTo>
                <a:cubicBezTo>
                  <a:pt x="5161519" y="3905047"/>
                  <a:pt x="5125417" y="4015047"/>
                  <a:pt x="5130138" y="4048117"/>
                </a:cubicBezTo>
                <a:cubicBezTo>
                  <a:pt x="5081804" y="4192084"/>
                  <a:pt x="5096262" y="4158987"/>
                  <a:pt x="5090040" y="4219510"/>
                </a:cubicBezTo>
                <a:cubicBezTo>
                  <a:pt x="5104553" y="4280033"/>
                  <a:pt x="5065380" y="4345686"/>
                  <a:pt x="5092812" y="4411258"/>
                </a:cubicBezTo>
                <a:cubicBezTo>
                  <a:pt x="5090630" y="4437329"/>
                  <a:pt x="5083878" y="4473140"/>
                  <a:pt x="5084599" y="4488531"/>
                </a:cubicBezTo>
                <a:cubicBezTo>
                  <a:pt x="5084423" y="4505410"/>
                  <a:pt x="5084248" y="4522289"/>
                  <a:pt x="5084072" y="4539168"/>
                </a:cubicBezTo>
                <a:cubicBezTo>
                  <a:pt x="5072114" y="4567830"/>
                  <a:pt x="5064305" y="4588197"/>
                  <a:pt x="5068936" y="4625153"/>
                </a:cubicBezTo>
                <a:cubicBezTo>
                  <a:pt x="5077433" y="4662889"/>
                  <a:pt x="5065899" y="4679357"/>
                  <a:pt x="5059114" y="4733115"/>
                </a:cubicBezTo>
                <a:cubicBezTo>
                  <a:pt x="5068687" y="4752352"/>
                  <a:pt x="5055370" y="4832308"/>
                  <a:pt x="5037209" y="4844323"/>
                </a:cubicBezTo>
                <a:cubicBezTo>
                  <a:pt x="5033444" y="4857054"/>
                  <a:pt x="5040194" y="4871554"/>
                  <a:pt x="5020638" y="4877992"/>
                </a:cubicBezTo>
                <a:cubicBezTo>
                  <a:pt x="4997151" y="4888353"/>
                  <a:pt x="5034418" y="4931200"/>
                  <a:pt x="5006413" y="4925805"/>
                </a:cubicBezTo>
                <a:cubicBezTo>
                  <a:pt x="5031964" y="4956261"/>
                  <a:pt x="4982840" y="4982633"/>
                  <a:pt x="4971037" y="5009272"/>
                </a:cubicBezTo>
                <a:cubicBezTo>
                  <a:pt x="4973259" y="5034036"/>
                  <a:pt x="4968375" y="5053859"/>
                  <a:pt x="4963105" y="5111369"/>
                </a:cubicBezTo>
                <a:cubicBezTo>
                  <a:pt x="4973224" y="5141336"/>
                  <a:pt x="4937413" y="5161742"/>
                  <a:pt x="4976341" y="5210876"/>
                </a:cubicBezTo>
                <a:cubicBezTo>
                  <a:pt x="4972455" y="5212581"/>
                  <a:pt x="4977054" y="5227501"/>
                  <a:pt x="4980617" y="5269726"/>
                </a:cubicBezTo>
                <a:cubicBezTo>
                  <a:pt x="4984182" y="5311951"/>
                  <a:pt x="4990390" y="5400671"/>
                  <a:pt x="4997733" y="5464225"/>
                </a:cubicBezTo>
                <a:cubicBezTo>
                  <a:pt x="5001765" y="5536542"/>
                  <a:pt x="4990225" y="5517959"/>
                  <a:pt x="5001400" y="5594585"/>
                </a:cubicBezTo>
                <a:cubicBezTo>
                  <a:pt x="4999908" y="5619318"/>
                  <a:pt x="4974042" y="5647975"/>
                  <a:pt x="4983700" y="5667896"/>
                </a:cubicBezTo>
                <a:cubicBezTo>
                  <a:pt x="4976834" y="5696311"/>
                  <a:pt x="4975579" y="5738356"/>
                  <a:pt x="4968506" y="5769225"/>
                </a:cubicBezTo>
                <a:cubicBezTo>
                  <a:pt x="4968926" y="5787258"/>
                  <a:pt x="4969344" y="5805291"/>
                  <a:pt x="4969765" y="5823324"/>
                </a:cubicBezTo>
                <a:cubicBezTo>
                  <a:pt x="4966122" y="5853058"/>
                  <a:pt x="4965608" y="5838948"/>
                  <a:pt x="4966129" y="5862699"/>
                </a:cubicBezTo>
                <a:lnTo>
                  <a:pt x="4970695" y="5906467"/>
                </a:lnTo>
                <a:lnTo>
                  <a:pt x="4991568" y="5939847"/>
                </a:lnTo>
                <a:cubicBezTo>
                  <a:pt x="4998848" y="5955713"/>
                  <a:pt x="4974731" y="5940131"/>
                  <a:pt x="4986815" y="5973994"/>
                </a:cubicBezTo>
                <a:cubicBezTo>
                  <a:pt x="4961187" y="5997051"/>
                  <a:pt x="4983444" y="6032039"/>
                  <a:pt x="4987776" y="6089693"/>
                </a:cubicBezTo>
                <a:lnTo>
                  <a:pt x="4991621" y="6224938"/>
                </a:lnTo>
                <a:cubicBezTo>
                  <a:pt x="4988442" y="6270972"/>
                  <a:pt x="5008962" y="6317522"/>
                  <a:pt x="5017157" y="6370251"/>
                </a:cubicBezTo>
                <a:cubicBezTo>
                  <a:pt x="5025353" y="6422980"/>
                  <a:pt x="5039938" y="6490855"/>
                  <a:pt x="5040797" y="6541313"/>
                </a:cubicBezTo>
                <a:cubicBezTo>
                  <a:pt x="5039898" y="6576319"/>
                  <a:pt x="5031912" y="6591883"/>
                  <a:pt x="5045375" y="6640957"/>
                </a:cubicBezTo>
                <a:cubicBezTo>
                  <a:pt x="5057505" y="6669536"/>
                  <a:pt x="5052276" y="6675394"/>
                  <a:pt x="5058442" y="6705297"/>
                </a:cubicBezTo>
                <a:cubicBezTo>
                  <a:pt x="5057367" y="6727133"/>
                  <a:pt x="5067901" y="6732087"/>
                  <a:pt x="5071125" y="6759582"/>
                </a:cubicBezTo>
                <a:cubicBezTo>
                  <a:pt x="5055614" y="6796071"/>
                  <a:pt x="5051656" y="6769544"/>
                  <a:pt x="5069172" y="6817746"/>
                </a:cubicBezTo>
                <a:cubicBezTo>
                  <a:pt x="5060956" y="6828354"/>
                  <a:pt x="5064525" y="6836369"/>
                  <a:pt x="5072322" y="6843646"/>
                </a:cubicBezTo>
                <a:lnTo>
                  <a:pt x="5091388" y="6857998"/>
                </a:lnTo>
                <a:lnTo>
                  <a:pt x="6096000" y="6857998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xmlns="" id="{0AA9639B-B7E2-44C5-9CA4-50187E024E5F}"/>
              </a:ext>
            </a:extLst>
          </p:cNvPr>
          <p:cNvSpPr txBox="1"/>
          <p:nvPr/>
        </p:nvSpPr>
        <p:spPr>
          <a:xfrm>
            <a:off x="563798" y="459696"/>
            <a:ext cx="4265951" cy="13308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olusykli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vaiheita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säädellään</a:t>
            </a:r>
            <a:r>
              <a:rPr lang="en-US" sz="3600" i="0" kern="1200" dirty="0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 </a:t>
            </a:r>
            <a:r>
              <a:rPr lang="en-US" sz="3600" i="0" kern="1200" dirty="0" err="1">
                <a:solidFill>
                  <a:schemeClr val="tx1"/>
                </a:solidFill>
                <a:effectLst/>
                <a:latin typeface="Myriad Pro Semibold"/>
                <a:ea typeface="+mj-ea"/>
                <a:cs typeface="+mj-cs"/>
              </a:rPr>
              <a:t>tarkasti</a:t>
            </a:r>
            <a:endParaRPr lang="en-US" sz="3600" kern="1200" dirty="0">
              <a:solidFill>
                <a:schemeClr val="tx1"/>
              </a:solidFill>
              <a:latin typeface="Myriad Pro Semibold"/>
              <a:ea typeface="+mj-ea"/>
              <a:cs typeface="+mj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xmlns="" id="{88682EDC-89D4-4A9C-A2A6-BDAD52E6FF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445457" y="1576185"/>
            <a:ext cx="6155141" cy="3729370"/>
          </a:xfrm>
          <a:prstGeom prst="rect">
            <a:avLst/>
          </a:prstGeom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xmlns="" id="{F11D86D1-2E03-42E9-A372-AD660C7DB75E}"/>
              </a:ext>
            </a:extLst>
          </p:cNvPr>
          <p:cNvSpPr txBox="1"/>
          <p:nvPr/>
        </p:nvSpPr>
        <p:spPr>
          <a:xfrm>
            <a:off x="1322754" y="1522820"/>
            <a:ext cx="2748041" cy="3601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xmlns="" id="{DFAA2138-5CF7-4889-ACC3-41F434DA99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graphicFrame>
        <p:nvGraphicFramePr>
          <p:cNvPr id="8" name="Tekstiruutu 5">
            <a:extLst>
              <a:ext uri="{FF2B5EF4-FFF2-40B4-BE49-F238E27FC236}">
                <a16:creationId xmlns:a16="http://schemas.microsoft.com/office/drawing/2014/main" xmlns="" id="{B936F7B1-E20A-3AF0-9D08-1FF576802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2441848"/>
              </p:ext>
            </p:extLst>
          </p:nvPr>
        </p:nvGraphicFramePr>
        <p:xfrm>
          <a:off x="563798" y="1878372"/>
          <a:ext cx="3657599" cy="3478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745881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xmlns="" id="{E1BF22A5-5A57-4AF6-B247-2D8B493D9B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5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xmlns="" id="{E1BF22A5-5A57-4AF6-B247-2D8B493D9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235294" cy="1325563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Jakautumisten määrä on rajallinen</a:t>
            </a:r>
            <a:endParaRPr lang="fi-FI" sz="3600" dirty="0">
              <a:latin typeface="Myriad Pro Semibold"/>
            </a:endParaRPr>
          </a:p>
        </p:txBody>
      </p:sp>
      <p:graphicFrame>
        <p:nvGraphicFramePr>
          <p:cNvPr id="8" name="Sisällön paikkamerkki 7">
            <a:extLst>
              <a:ext uri="{FF2B5EF4-FFF2-40B4-BE49-F238E27FC236}">
                <a16:creationId xmlns:a16="http://schemas.microsoft.com/office/drawing/2014/main" xmlns="" id="{311B8604-8FEE-42BB-AF19-CDBE2DDB3F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6490341"/>
              </p:ext>
            </p:extLst>
          </p:nvPr>
        </p:nvGraphicFramePr>
        <p:xfrm>
          <a:off x="838200" y="1436915"/>
          <a:ext cx="6050280" cy="499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xmlns="" id="{CF47ABF3-D808-437C-99C9-B7CE14174BFD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1073494" y="6261944"/>
            <a:ext cx="1115457" cy="51545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xmlns="" id="{87AFEE6D-3997-40CF-B472-736E88DE41E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36638" y="1532710"/>
            <a:ext cx="3617162" cy="3997234"/>
          </a:xfrm>
          <a:prstGeom prst="rect">
            <a:avLst/>
          </a:prstGeom>
        </p:spPr>
      </p:pic>
      <p:sp>
        <p:nvSpPr>
          <p:cNvPr id="10" name="Tekstiruutu 9">
            <a:extLst>
              <a:ext uri="{FF2B5EF4-FFF2-40B4-BE49-F238E27FC236}">
                <a16:creationId xmlns:a16="http://schemas.microsoft.com/office/drawing/2014/main" xmlns="" id="{A7077038-8B93-427F-8376-FF7C067A49C5}"/>
              </a:ext>
            </a:extLst>
          </p:cNvPr>
          <p:cNvSpPr txBox="1"/>
          <p:nvPr/>
        </p:nvSpPr>
        <p:spPr>
          <a:xfrm>
            <a:off x="7674961" y="5220201"/>
            <a:ext cx="41522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i-FI" sz="1800" b="0" i="0" u="none" strike="noStrike" baseline="0" dirty="0">
                <a:latin typeface="MuseoSans-300"/>
              </a:rPr>
              <a:t>Kuvassa</a:t>
            </a:r>
          </a:p>
          <a:p>
            <a:pPr algn="l"/>
            <a:r>
              <a:rPr lang="fi-FI" sz="1400" b="0" i="0" u="none" strike="noStrike" baseline="0" dirty="0" err="1">
                <a:latin typeface="MuseoSans-300"/>
              </a:rPr>
              <a:t>Telomeerit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näkyvät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kromosomien</a:t>
            </a:r>
            <a:r>
              <a:rPr lang="fi-FI" sz="1400" dirty="0">
                <a:latin typeface="MuseoSans-300"/>
              </a:rPr>
              <a:t> </a:t>
            </a:r>
            <a:r>
              <a:rPr lang="fi-FI" sz="1400" b="0" i="0" u="none" strike="noStrike" baseline="0" dirty="0">
                <a:latin typeface="MuseoSans-300"/>
              </a:rPr>
              <a:t>päissä punaisina.</a:t>
            </a:r>
            <a:endParaRPr lang="fi-FI" sz="1400" dirty="0"/>
          </a:p>
        </p:txBody>
      </p:sp>
    </p:spTree>
    <p:extLst>
      <p:ext uri="{BB962C8B-B14F-4D97-AF65-F5344CB8AC3E}">
        <p14:creationId xmlns:p14="http://schemas.microsoft.com/office/powerpoint/2010/main" val="13405461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xmlns="" id="{C0C92CC4-9821-445B-8FC1-C7630CDC1D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1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xmlns="" id="{C0C92CC4-9821-445B-8FC1-C7630CDC1D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xmlns="" id="{3C758F86-BBBF-48AA-8EC6-ADA1457FD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1012"/>
          </a:xfrm>
        </p:spPr>
        <p:txBody>
          <a:bodyPr vert="horz">
            <a:normAutofit/>
          </a:bodyPr>
          <a:lstStyle/>
          <a:p>
            <a:r>
              <a:rPr lang="fi-FI" sz="3600" dirty="0">
                <a:latin typeface="Myriad Pro Semibold"/>
                <a:cs typeface="Calibri Light"/>
              </a:rPr>
              <a:t>Tiivistelmä</a:t>
            </a:r>
            <a:endParaRPr lang="fi-FI" sz="3600" dirty="0">
              <a:latin typeface="Myriad Pro Semibold"/>
            </a:endParaRPr>
          </a:p>
        </p:txBody>
      </p:sp>
      <p:pic>
        <p:nvPicPr>
          <p:cNvPr id="26" name="Kuva 25">
            <a:extLst>
              <a:ext uri="{FF2B5EF4-FFF2-40B4-BE49-F238E27FC236}">
                <a16:creationId xmlns:a16="http://schemas.microsoft.com/office/drawing/2014/main" xmlns="" id="{328AC4BB-AECD-47FE-B305-B95D452F1AE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541684" y="464695"/>
            <a:ext cx="5347484" cy="6033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674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nen xmlns="b074eca8-5fb2-43da-8e1c-14493b35314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8D098488BDB0E4DB3D1B98825041D0E" ma:contentTypeVersion="16" ma:contentTypeDescription="Luo uusi asiakirja." ma:contentTypeScope="" ma:versionID="4f89c020090708f26b985b9dc78b22b3">
  <xsd:schema xmlns:xsd="http://www.w3.org/2001/XMLSchema" xmlns:xs="http://www.w3.org/2001/XMLSchema" xmlns:p="http://schemas.microsoft.com/office/2006/metadata/properties" xmlns:ns2="b074eca8-5fb2-43da-8e1c-14493b353147" xmlns:ns3="10f150c9-2741-4e22-b721-4e123a12c6bb" targetNamespace="http://schemas.microsoft.com/office/2006/metadata/properties" ma:root="true" ma:fieldsID="6513cda6012a58a901e4874fc766236e" ns2:_="" ns3:_="">
    <xsd:import namespace="b074eca8-5fb2-43da-8e1c-14493b353147"/>
    <xsd:import namespace="10f150c9-2741-4e22-b721-4e123a12c6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Ken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4eca8-5fb2-43da-8e1c-14493b3531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Kenen" ma:index="19" nillable="true" ma:displayName="Kenen" ma:format="Dropdown" ma:internalName="Kenen">
      <xsd:simpleType>
        <xsd:restriction base="dms:Text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f150c9-2741-4e22-b721-4e123a12c6b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B45939-3B9A-4C21-9D96-3DCB0242B9B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23C7F9-EAEB-49A2-A0B7-035D1E4E038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0f150c9-2741-4e22-b721-4e123a12c6bb"/>
    <ds:schemaRef ds:uri="b074eca8-5fb2-43da-8e1c-14493b35314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3133D0F-2A2B-489B-9E06-1A58888A05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74eca8-5fb2-43da-8e1c-14493b353147"/>
    <ds:schemaRef ds:uri="10f150c9-2741-4e22-b721-4e123a12c6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30</TotalTime>
  <Words>257</Words>
  <Application>Microsoft Office PowerPoint</Application>
  <PresentationFormat>Laajakuva</PresentationFormat>
  <Paragraphs>57</Paragraphs>
  <Slides>9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MuseoSans-300</vt:lpstr>
      <vt:lpstr>Myriad Pro Semibold</vt:lpstr>
      <vt:lpstr>Office-teema</vt:lpstr>
      <vt:lpstr>think-cell Slide</vt:lpstr>
      <vt:lpstr>8 Solut lisääntyvät jakautumalla</vt:lpstr>
      <vt:lpstr>PowerPoint-esitys</vt:lpstr>
      <vt:lpstr>PowerPoint-esitys</vt:lpstr>
      <vt:lpstr>PowerPoint-esitys</vt:lpstr>
      <vt:lpstr>DNA: kahdentumisessa tapahtuu virheitä</vt:lpstr>
      <vt:lpstr>Solujen jakautumista edeltää mitoosi</vt:lpstr>
      <vt:lpstr>PowerPoint-esitys</vt:lpstr>
      <vt:lpstr>Jakautumisten määrä on rajallinen</vt:lpstr>
      <vt:lpstr>Tiivistelmä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ja Penttinen</dc:creator>
  <cp:lastModifiedBy>Ylälehto Virpi</cp:lastModifiedBy>
  <cp:revision>116</cp:revision>
  <dcterms:created xsi:type="dcterms:W3CDTF">2017-07-04T08:37:15Z</dcterms:created>
  <dcterms:modified xsi:type="dcterms:W3CDTF">2023-04-04T06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D098488BDB0E4DB3D1B98825041D0E</vt:lpwstr>
  </property>
</Properties>
</file>